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3"/>
  </p:notesMasterIdLst>
  <p:sldIdLst>
    <p:sldId id="256" r:id="rId3"/>
    <p:sldId id="274" r:id="rId4"/>
    <p:sldId id="267" r:id="rId5"/>
    <p:sldId id="273" r:id="rId6"/>
    <p:sldId id="270" r:id="rId7"/>
    <p:sldId id="261" r:id="rId8"/>
    <p:sldId id="275" r:id="rId9"/>
    <p:sldId id="276" r:id="rId10"/>
    <p:sldId id="277" r:id="rId11"/>
    <p:sldId id="257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0F7F4"/>
    <a:srgbClr val="F6443B"/>
    <a:srgbClr val="125680"/>
    <a:srgbClr val="0C152C"/>
    <a:srgbClr val="070C1E"/>
    <a:srgbClr val="12214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02" autoAdjust="0"/>
    <p:restoredTop sz="94660"/>
  </p:normalViewPr>
  <p:slideViewPr>
    <p:cSldViewPr snapToGrid="0">
      <p:cViewPr varScale="1">
        <p:scale>
          <a:sx n="83" d="100"/>
          <a:sy n="83" d="100"/>
        </p:scale>
        <p:origin x="96" y="2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1E6909-83F1-4324-83D2-287D668823ED}" type="datetimeFigureOut">
              <a:rPr lang="en-US" smtClean="0"/>
              <a:t>11/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B29122-58DF-4E14-BE8A-E1ABE85C67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0082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DE5F4B-E26A-41E3-B0CB-D243FAB882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27711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06107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68959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5275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40A7A7-E9A0-4E04-A49D-FE5DEC9F4F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73F6A6D-2933-4FAD-B95C-A0D8298AC4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A1EC83C-127F-430C-A981-D8CDF8DD6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4/2022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E88149A-BEF0-4F7B-8175-F5136B841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9C567D5-4742-4738-9BE8-8148B19D5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2527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3631645-05F2-42CC-990A-FE1E442CF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AF4B2AF-0EAB-4DD5-BA8A-594AB3F723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175CA05-DE11-4821-87B3-2594A7DE94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4/2022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0150A0A-D7E0-4856-8B04-710F79511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93F59CB-1332-4175-A659-131014409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1602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D5A922D-7AA7-45C9-A6C4-19F6B07A8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8353FFD-4116-4527-841E-470B837377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0CF3870-B2B5-44D6-8FA5-890A275DC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4/2022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2E72FE6-5D19-451F-9CB6-B637EDBBB6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E3AB048-EF6A-4A0B-88FC-E805A7B671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6893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96024D-A637-4D3D-A3C3-E51849E4E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8794A67-D5A5-469A-B1CD-1C83C442CB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C095398-59CD-4A6B-AD9F-B35E537922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EE7AEF0-32FF-481B-A002-5B012F2BB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4/2022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D61269F-754D-4A95-B0C9-9F38D8A6C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8BFB2A5-1F5A-47E9-A384-0947F1A48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3214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333A92-F24E-406B-993A-04C553415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9DB3173-72F6-46FE-9F12-9F7FF252C1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B527B14-E58F-4D40-827C-6B4E752B23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26AD5A4D-45D3-4702-81CE-C77E2FA5D3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926C578-FF78-42C9-A43F-677D66D6CCA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D83E1B79-BD75-4F0A-A671-CB4F1BD5C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4/2022</a:t>
            </a:fld>
            <a:endParaRPr lang="en-U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5C43D1EF-194D-4B37-B04D-484158711E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6C3FF4F0-A418-498B-964B-874AF65A6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14976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825A8A-E789-477D-A451-59584E879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63D12ECF-C450-4B6B-BBA5-08F75FF3D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4/2022</a:t>
            </a:fld>
            <a:endParaRPr lang="en-U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594BD71-31AC-4C72-A7B4-F48F8DC72E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BEB595B-4295-4B15-9AAD-F198E9577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75459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EDEB6072-05AA-4752-80DA-AE6F56C862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4/2022</a:t>
            </a:fld>
            <a:endParaRPr lang="en-U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1A5C52C8-F3E6-4DC5-897D-93B274658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75D5AC2-1AB1-41D5-8809-5F6B837BB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9039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3CAE93C-5CB0-42CE-8ABB-DE34A3810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219579B-188C-4737-84D1-489AF37F83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3C1D86F-43C7-4764-A6DE-2054B14F38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A4B1755-41EE-4596-AF6B-7B7AC6521A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4/2022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817AFD1-24CA-4858-98E9-D3FB4BFE7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70F2F19-CC95-41B5-BEC0-07E40A502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6810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8889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79839E-A93F-4AE9-B777-42DAD35F18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3CF7405-E3F4-4791-863E-C6EF68F9544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7C3DB3E-F861-45AF-8148-34918DAD4A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E49FE0F-292E-4746-8C08-25C3F8DF8D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4/2022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8694BCFF-F1B8-4296-AD1A-ADFCADAD11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D71DB56-B6EE-4609-8CB3-30A1A79A5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6430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989F7A-3FC7-4D7B-A4B2-D67DFE33F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26E80C77-C77E-4F04-95FA-A187125D82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2B80840-17DC-4527-848A-2965F90D1B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4/2022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07D085F-FFE8-4455-BF30-920907E47D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CB9C9C8-5946-4A60-8BD1-963B288BE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9232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8EC17D5-2304-44C5-B1E5-0D6966D77D7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8AD8E4A2-2AA6-442C-AAE8-B13FA90D81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E569C75-6D8F-4695-8C85-B3F92DC67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4/2022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70D4CDB-2F02-4BFB-AA4F-D0C1E4C03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99153B-8F05-4C01-8841-58CE5AB57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88320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0412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1557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4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82214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4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52367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4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10191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85066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97740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CAB65F-E1CD-4DF5-869D-309059F8B1B3}" type="datetimeFigureOut">
              <a:rPr lang="en-US" smtClean="0"/>
              <a:t>11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792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08B790-5212-4C17-9F64-1BB6A6995A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12664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108B790-5212-4C17-9F64-1BB6A6995A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A474207-4A5F-4A30-8C50-83C7F03A259A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6C9F4F55-DD75-4B22-A02D-60616CE84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9DB8B19-48EC-4A01-AB1C-6B0DA56200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F6F3C4-BC08-462F-9268-5C9F6B78A7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1AF5FE-C9EF-4E41-B249-757B17A47A1B}" type="datetimeFigureOut">
              <a:rPr lang="en-US" smtClean="0"/>
              <a:t>11/4/2022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1BD2215-ED0A-4ECD-AEFD-D1211E4C15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3FCAEF1-AD48-4328-A590-63C6EA282D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4139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13" Type="http://schemas.openxmlformats.org/officeDocument/2006/relationships/image" Target="../media/image9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svg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11" Type="http://schemas.openxmlformats.org/officeDocument/2006/relationships/image" Target="../media/image7.emf"/><Relationship Id="rId5" Type="http://schemas.openxmlformats.org/officeDocument/2006/relationships/image" Target="../media/image1.emf"/><Relationship Id="rId10" Type="http://schemas.openxmlformats.org/officeDocument/2006/relationships/image" Target="../media/image6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Relationship Id="rId9" Type="http://schemas.openxmlformats.org/officeDocument/2006/relationships/image" Target="../media/image18.jp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6" Type="http://schemas.openxmlformats.org/officeDocument/2006/relationships/image" Target="../media/image19.jpg"/><Relationship Id="rId5" Type="http://schemas.openxmlformats.org/officeDocument/2006/relationships/image" Target="../media/image16.pn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0" y="0"/>
            <a:ext cx="12188891" cy="5646040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9" name="Oval 57"/>
          <p:cNvSpPr>
            <a:spLocks noChangeArrowheads="1"/>
          </p:cNvSpPr>
          <p:nvPr/>
        </p:nvSpPr>
        <p:spPr bwMode="auto">
          <a:xfrm>
            <a:off x="7664344" y="1374182"/>
            <a:ext cx="2558678" cy="2560023"/>
          </a:xfrm>
          <a:prstGeom prst="ellipse">
            <a:avLst/>
          </a:prstGeom>
          <a:gradFill flip="none" rotWithShape="1">
            <a:gsLst>
              <a:gs pos="100000">
                <a:srgbClr val="B0F7F4">
                  <a:alpha val="20000"/>
                </a:srgbClr>
              </a:gs>
              <a:gs pos="0">
                <a:srgbClr val="B0F7F4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6"/>
          <p:cNvSpPr>
            <a:spLocks/>
          </p:cNvSpPr>
          <p:nvPr/>
        </p:nvSpPr>
        <p:spPr bwMode="auto">
          <a:xfrm>
            <a:off x="-200025" y="4682838"/>
            <a:ext cx="1939860" cy="963204"/>
          </a:xfrm>
          <a:custGeom>
            <a:avLst/>
            <a:gdLst>
              <a:gd name="T0" fmla="*/ 0 w 1442"/>
              <a:gd name="T1" fmla="*/ 716 h 716"/>
              <a:gd name="T2" fmla="*/ 1442 w 1442"/>
              <a:gd name="T3" fmla="*/ 716 h 716"/>
              <a:gd name="T4" fmla="*/ 725 w 1442"/>
              <a:gd name="T5" fmla="*/ 0 h 716"/>
              <a:gd name="T6" fmla="*/ 0 w 1442"/>
              <a:gd name="T7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2" h="716">
                <a:moveTo>
                  <a:pt x="0" y="716"/>
                </a:moveTo>
                <a:lnTo>
                  <a:pt x="1442" y="716"/>
                </a:lnTo>
                <a:lnTo>
                  <a:pt x="725" y="0"/>
                </a:lnTo>
                <a:lnTo>
                  <a:pt x="0" y="716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/>
        </p:nvSpPr>
        <p:spPr bwMode="auto">
          <a:xfrm>
            <a:off x="851965" y="4156843"/>
            <a:ext cx="2995886" cy="1489199"/>
          </a:xfrm>
          <a:custGeom>
            <a:avLst/>
            <a:gdLst>
              <a:gd name="T0" fmla="*/ 0 w 2227"/>
              <a:gd name="T1" fmla="*/ 1107 h 1107"/>
              <a:gd name="T2" fmla="*/ 2227 w 2227"/>
              <a:gd name="T3" fmla="*/ 1107 h 1107"/>
              <a:gd name="T4" fmla="*/ 1121 w 2227"/>
              <a:gd name="T5" fmla="*/ 0 h 1107"/>
              <a:gd name="T6" fmla="*/ 0 w 2227"/>
              <a:gd name="T7" fmla="*/ 1107 h 1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27" h="1107">
                <a:moveTo>
                  <a:pt x="0" y="1107"/>
                </a:moveTo>
                <a:lnTo>
                  <a:pt x="2227" y="1107"/>
                </a:lnTo>
                <a:lnTo>
                  <a:pt x="1121" y="0"/>
                </a:lnTo>
                <a:lnTo>
                  <a:pt x="0" y="1107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/>
        </p:nvSpPr>
        <p:spPr bwMode="auto">
          <a:xfrm>
            <a:off x="4276988" y="5063546"/>
            <a:ext cx="1173064" cy="582496"/>
          </a:xfrm>
          <a:custGeom>
            <a:avLst/>
            <a:gdLst>
              <a:gd name="T0" fmla="*/ 0 w 872"/>
              <a:gd name="T1" fmla="*/ 433 h 433"/>
              <a:gd name="T2" fmla="*/ 872 w 872"/>
              <a:gd name="T3" fmla="*/ 433 h 433"/>
              <a:gd name="T4" fmla="*/ 440 w 872"/>
              <a:gd name="T5" fmla="*/ 0 h 433"/>
              <a:gd name="T6" fmla="*/ 0 w 872"/>
              <a:gd name="T7" fmla="*/ 433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2" h="433">
                <a:moveTo>
                  <a:pt x="0" y="433"/>
                </a:moveTo>
                <a:lnTo>
                  <a:pt x="872" y="433"/>
                </a:lnTo>
                <a:lnTo>
                  <a:pt x="440" y="0"/>
                </a:lnTo>
                <a:lnTo>
                  <a:pt x="0" y="433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/>
        </p:nvSpPr>
        <p:spPr bwMode="auto">
          <a:xfrm>
            <a:off x="10227057" y="4513336"/>
            <a:ext cx="2280210" cy="1132706"/>
          </a:xfrm>
          <a:custGeom>
            <a:avLst/>
            <a:gdLst>
              <a:gd name="T0" fmla="*/ 0 w 1695"/>
              <a:gd name="T1" fmla="*/ 842 h 842"/>
              <a:gd name="T2" fmla="*/ 1695 w 1695"/>
              <a:gd name="T3" fmla="*/ 842 h 842"/>
              <a:gd name="T4" fmla="*/ 853 w 1695"/>
              <a:gd name="T5" fmla="*/ 0 h 842"/>
              <a:gd name="T6" fmla="*/ 0 w 1695"/>
              <a:gd name="T7" fmla="*/ 842 h 8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95" h="842">
                <a:moveTo>
                  <a:pt x="0" y="842"/>
                </a:moveTo>
                <a:lnTo>
                  <a:pt x="1695" y="842"/>
                </a:lnTo>
                <a:lnTo>
                  <a:pt x="853" y="0"/>
                </a:lnTo>
                <a:lnTo>
                  <a:pt x="0" y="842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/>
        </p:nvSpPr>
        <p:spPr bwMode="auto">
          <a:xfrm>
            <a:off x="8928885" y="1643904"/>
            <a:ext cx="4818708" cy="1997706"/>
          </a:xfrm>
          <a:custGeom>
            <a:avLst/>
            <a:gdLst>
              <a:gd name="T0" fmla="*/ 0 w 3582"/>
              <a:gd name="T1" fmla="*/ 743 h 1485"/>
              <a:gd name="T2" fmla="*/ 3582 w 3582"/>
              <a:gd name="T3" fmla="*/ 0 h 1485"/>
              <a:gd name="T4" fmla="*/ 3582 w 3582"/>
              <a:gd name="T5" fmla="*/ 1485 h 1485"/>
              <a:gd name="T6" fmla="*/ 0 w 3582"/>
              <a:gd name="T7" fmla="*/ 743 h 14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582" h="1485">
                <a:moveTo>
                  <a:pt x="0" y="743"/>
                </a:moveTo>
                <a:lnTo>
                  <a:pt x="3582" y="0"/>
                </a:lnTo>
                <a:lnTo>
                  <a:pt x="3582" y="1485"/>
                </a:lnTo>
                <a:lnTo>
                  <a:pt x="0" y="743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8000">
                <a:srgbClr val="B0F7F4">
                  <a:alpha val="0"/>
                </a:srgbClr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/>
        </p:nvSpPr>
        <p:spPr bwMode="auto">
          <a:xfrm>
            <a:off x="4111522" y="1643904"/>
            <a:ext cx="4817363" cy="1997706"/>
          </a:xfrm>
          <a:custGeom>
            <a:avLst/>
            <a:gdLst>
              <a:gd name="T0" fmla="*/ 3581 w 3581"/>
              <a:gd name="T1" fmla="*/ 743 h 1485"/>
              <a:gd name="T2" fmla="*/ 0 w 3581"/>
              <a:gd name="T3" fmla="*/ 0 h 1485"/>
              <a:gd name="T4" fmla="*/ 0 w 3581"/>
              <a:gd name="T5" fmla="*/ 1485 h 1485"/>
              <a:gd name="T6" fmla="*/ 3581 w 3581"/>
              <a:gd name="T7" fmla="*/ 743 h 14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581" h="1485">
                <a:moveTo>
                  <a:pt x="3581" y="743"/>
                </a:moveTo>
                <a:lnTo>
                  <a:pt x="0" y="0"/>
                </a:lnTo>
                <a:lnTo>
                  <a:pt x="0" y="1485"/>
                </a:lnTo>
                <a:lnTo>
                  <a:pt x="3581" y="743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8000">
                <a:srgbClr val="B0F7F4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12"/>
          <p:cNvSpPr>
            <a:spLocks/>
          </p:cNvSpPr>
          <p:nvPr/>
        </p:nvSpPr>
        <p:spPr bwMode="auto">
          <a:xfrm>
            <a:off x="8277781" y="3921423"/>
            <a:ext cx="3472107" cy="1724619"/>
          </a:xfrm>
          <a:custGeom>
            <a:avLst/>
            <a:gdLst>
              <a:gd name="T0" fmla="*/ 0 w 2581"/>
              <a:gd name="T1" fmla="*/ 1282 h 1282"/>
              <a:gd name="T2" fmla="*/ 2581 w 2581"/>
              <a:gd name="T3" fmla="*/ 1282 h 1282"/>
              <a:gd name="T4" fmla="*/ 1298 w 2581"/>
              <a:gd name="T5" fmla="*/ 0 h 1282"/>
              <a:gd name="T6" fmla="*/ 0 w 2581"/>
              <a:gd name="T7" fmla="*/ 1282 h 1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581" h="1282">
                <a:moveTo>
                  <a:pt x="0" y="1282"/>
                </a:moveTo>
                <a:lnTo>
                  <a:pt x="2581" y="1282"/>
                </a:lnTo>
                <a:lnTo>
                  <a:pt x="1298" y="0"/>
                </a:lnTo>
                <a:lnTo>
                  <a:pt x="0" y="1282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Freeform 13"/>
          <p:cNvSpPr>
            <a:spLocks/>
          </p:cNvSpPr>
          <p:nvPr/>
        </p:nvSpPr>
        <p:spPr bwMode="auto">
          <a:xfrm>
            <a:off x="3847851" y="5312418"/>
            <a:ext cx="671283" cy="333624"/>
          </a:xfrm>
          <a:custGeom>
            <a:avLst/>
            <a:gdLst>
              <a:gd name="T0" fmla="*/ 0 w 499"/>
              <a:gd name="T1" fmla="*/ 248 h 248"/>
              <a:gd name="T2" fmla="*/ 499 w 499"/>
              <a:gd name="T3" fmla="*/ 248 h 248"/>
              <a:gd name="T4" fmla="*/ 250 w 499"/>
              <a:gd name="T5" fmla="*/ 0 h 248"/>
              <a:gd name="T6" fmla="*/ 0 w 499"/>
              <a:gd name="T7" fmla="*/ 248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9" h="248">
                <a:moveTo>
                  <a:pt x="0" y="248"/>
                </a:moveTo>
                <a:lnTo>
                  <a:pt x="499" y="248"/>
                </a:lnTo>
                <a:lnTo>
                  <a:pt x="250" y="0"/>
                </a:lnTo>
                <a:lnTo>
                  <a:pt x="0" y="248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 14"/>
          <p:cNvSpPr>
            <a:spLocks/>
          </p:cNvSpPr>
          <p:nvPr/>
        </p:nvSpPr>
        <p:spPr bwMode="auto">
          <a:xfrm>
            <a:off x="2194531" y="5391789"/>
            <a:ext cx="511197" cy="254253"/>
          </a:xfrm>
          <a:custGeom>
            <a:avLst/>
            <a:gdLst>
              <a:gd name="T0" fmla="*/ 0 w 380"/>
              <a:gd name="T1" fmla="*/ 189 h 189"/>
              <a:gd name="T2" fmla="*/ 380 w 380"/>
              <a:gd name="T3" fmla="*/ 189 h 189"/>
              <a:gd name="T4" fmla="*/ 191 w 380"/>
              <a:gd name="T5" fmla="*/ 0 h 189"/>
              <a:gd name="T6" fmla="*/ 0 w 380"/>
              <a:gd name="T7" fmla="*/ 189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0" h="189">
                <a:moveTo>
                  <a:pt x="0" y="189"/>
                </a:moveTo>
                <a:lnTo>
                  <a:pt x="380" y="189"/>
                </a:lnTo>
                <a:lnTo>
                  <a:pt x="191" y="0"/>
                </a:lnTo>
                <a:lnTo>
                  <a:pt x="0" y="189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Freeform 15"/>
          <p:cNvSpPr>
            <a:spLocks/>
          </p:cNvSpPr>
          <p:nvPr/>
        </p:nvSpPr>
        <p:spPr bwMode="auto">
          <a:xfrm>
            <a:off x="2006195" y="5480575"/>
            <a:ext cx="333624" cy="165467"/>
          </a:xfrm>
          <a:custGeom>
            <a:avLst/>
            <a:gdLst>
              <a:gd name="T0" fmla="*/ 0 w 248"/>
              <a:gd name="T1" fmla="*/ 123 h 123"/>
              <a:gd name="T2" fmla="*/ 248 w 248"/>
              <a:gd name="T3" fmla="*/ 123 h 123"/>
              <a:gd name="T4" fmla="*/ 125 w 248"/>
              <a:gd name="T5" fmla="*/ 0 h 123"/>
              <a:gd name="T6" fmla="*/ 0 w 248"/>
              <a:gd name="T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8" h="123">
                <a:moveTo>
                  <a:pt x="0" y="123"/>
                </a:moveTo>
                <a:lnTo>
                  <a:pt x="248" y="123"/>
                </a:lnTo>
                <a:lnTo>
                  <a:pt x="125" y="0"/>
                </a:lnTo>
                <a:lnTo>
                  <a:pt x="0" y="123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16"/>
          <p:cNvSpPr>
            <a:spLocks/>
          </p:cNvSpPr>
          <p:nvPr/>
        </p:nvSpPr>
        <p:spPr bwMode="auto">
          <a:xfrm>
            <a:off x="225076" y="5442908"/>
            <a:ext cx="414339" cy="203134"/>
          </a:xfrm>
          <a:custGeom>
            <a:avLst/>
            <a:gdLst>
              <a:gd name="T0" fmla="*/ 308 w 308"/>
              <a:gd name="T1" fmla="*/ 151 h 151"/>
              <a:gd name="T2" fmla="*/ 0 w 308"/>
              <a:gd name="T3" fmla="*/ 151 h 151"/>
              <a:gd name="T4" fmla="*/ 154 w 308"/>
              <a:gd name="T5" fmla="*/ 0 h 151"/>
              <a:gd name="T6" fmla="*/ 308 w 308"/>
              <a:gd name="T7" fmla="*/ 151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8" h="151">
                <a:moveTo>
                  <a:pt x="308" y="151"/>
                </a:moveTo>
                <a:lnTo>
                  <a:pt x="0" y="151"/>
                </a:lnTo>
                <a:lnTo>
                  <a:pt x="154" y="0"/>
                </a:lnTo>
                <a:lnTo>
                  <a:pt x="308" y="151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Freeform 18"/>
          <p:cNvSpPr>
            <a:spLocks/>
          </p:cNvSpPr>
          <p:nvPr/>
        </p:nvSpPr>
        <p:spPr bwMode="auto">
          <a:xfrm>
            <a:off x="3176568" y="5140226"/>
            <a:ext cx="1021050" cy="505816"/>
          </a:xfrm>
          <a:custGeom>
            <a:avLst/>
            <a:gdLst>
              <a:gd name="T0" fmla="*/ 0 w 759"/>
              <a:gd name="T1" fmla="*/ 376 h 376"/>
              <a:gd name="T2" fmla="*/ 759 w 759"/>
              <a:gd name="T3" fmla="*/ 376 h 376"/>
              <a:gd name="T4" fmla="*/ 381 w 759"/>
              <a:gd name="T5" fmla="*/ 0 h 376"/>
              <a:gd name="T6" fmla="*/ 0 w 759"/>
              <a:gd name="T7" fmla="*/ 376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59" h="376">
                <a:moveTo>
                  <a:pt x="0" y="376"/>
                </a:moveTo>
                <a:lnTo>
                  <a:pt x="759" y="376"/>
                </a:lnTo>
                <a:lnTo>
                  <a:pt x="381" y="0"/>
                </a:lnTo>
                <a:lnTo>
                  <a:pt x="0" y="376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19"/>
          <p:cNvSpPr>
            <a:spLocks/>
          </p:cNvSpPr>
          <p:nvPr/>
        </p:nvSpPr>
        <p:spPr bwMode="auto">
          <a:xfrm>
            <a:off x="11113581" y="4793149"/>
            <a:ext cx="1717892" cy="852893"/>
          </a:xfrm>
          <a:custGeom>
            <a:avLst/>
            <a:gdLst>
              <a:gd name="T0" fmla="*/ 0 w 1277"/>
              <a:gd name="T1" fmla="*/ 634 h 634"/>
              <a:gd name="T2" fmla="*/ 1277 w 1277"/>
              <a:gd name="T3" fmla="*/ 634 h 634"/>
              <a:gd name="T4" fmla="*/ 641 w 1277"/>
              <a:gd name="T5" fmla="*/ 0 h 634"/>
              <a:gd name="T6" fmla="*/ 0 w 1277"/>
              <a:gd name="T7" fmla="*/ 634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77" h="634">
                <a:moveTo>
                  <a:pt x="0" y="634"/>
                </a:moveTo>
                <a:lnTo>
                  <a:pt x="1277" y="634"/>
                </a:lnTo>
                <a:lnTo>
                  <a:pt x="641" y="0"/>
                </a:lnTo>
                <a:lnTo>
                  <a:pt x="0" y="634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Freeform 20"/>
          <p:cNvSpPr>
            <a:spLocks/>
          </p:cNvSpPr>
          <p:nvPr/>
        </p:nvSpPr>
        <p:spPr bwMode="auto">
          <a:xfrm>
            <a:off x="8525308" y="2818313"/>
            <a:ext cx="235420" cy="207169"/>
          </a:xfrm>
          <a:custGeom>
            <a:avLst/>
            <a:gdLst>
              <a:gd name="T0" fmla="*/ 175 w 175"/>
              <a:gd name="T1" fmla="*/ 154 h 154"/>
              <a:gd name="T2" fmla="*/ 36 w 175"/>
              <a:gd name="T3" fmla="*/ 154 h 154"/>
              <a:gd name="T4" fmla="*/ 0 w 175"/>
              <a:gd name="T5" fmla="*/ 0 h 154"/>
              <a:gd name="T6" fmla="*/ 142 w 175"/>
              <a:gd name="T7" fmla="*/ 0 h 154"/>
              <a:gd name="T8" fmla="*/ 175 w 175"/>
              <a:gd name="T9" fmla="*/ 154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5" h="154">
                <a:moveTo>
                  <a:pt x="175" y="154"/>
                </a:moveTo>
                <a:lnTo>
                  <a:pt x="36" y="154"/>
                </a:lnTo>
                <a:lnTo>
                  <a:pt x="0" y="0"/>
                </a:lnTo>
                <a:lnTo>
                  <a:pt x="142" y="0"/>
                </a:lnTo>
                <a:lnTo>
                  <a:pt x="175" y="154"/>
                </a:lnTo>
                <a:close/>
              </a:path>
            </a:pathLst>
          </a:custGeom>
          <a:solidFill>
            <a:srgbClr val="1256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Freeform 21"/>
          <p:cNvSpPr>
            <a:spLocks/>
          </p:cNvSpPr>
          <p:nvPr/>
        </p:nvSpPr>
        <p:spPr bwMode="auto">
          <a:xfrm>
            <a:off x="8413652" y="4828126"/>
            <a:ext cx="248872" cy="391470"/>
          </a:xfrm>
          <a:custGeom>
            <a:avLst/>
            <a:gdLst>
              <a:gd name="T0" fmla="*/ 22 w 185"/>
              <a:gd name="T1" fmla="*/ 0 h 291"/>
              <a:gd name="T2" fmla="*/ 185 w 185"/>
              <a:gd name="T3" fmla="*/ 0 h 291"/>
              <a:gd name="T4" fmla="*/ 171 w 185"/>
              <a:gd name="T5" fmla="*/ 291 h 291"/>
              <a:gd name="T6" fmla="*/ 0 w 185"/>
              <a:gd name="T7" fmla="*/ 291 h 291"/>
              <a:gd name="T8" fmla="*/ 22 w 185"/>
              <a:gd name="T9" fmla="*/ 0 h 2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5" h="291">
                <a:moveTo>
                  <a:pt x="22" y="0"/>
                </a:moveTo>
                <a:lnTo>
                  <a:pt x="185" y="0"/>
                </a:lnTo>
                <a:lnTo>
                  <a:pt x="171" y="291"/>
                </a:lnTo>
                <a:lnTo>
                  <a:pt x="0" y="291"/>
                </a:lnTo>
                <a:lnTo>
                  <a:pt x="22" y="0"/>
                </a:lnTo>
                <a:close/>
              </a:path>
            </a:pathLst>
          </a:custGeom>
          <a:solidFill>
            <a:srgbClr val="D3D1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Freeform 22"/>
          <p:cNvSpPr>
            <a:spLocks/>
          </p:cNvSpPr>
          <p:nvPr/>
        </p:nvSpPr>
        <p:spPr bwMode="auto">
          <a:xfrm>
            <a:off x="8483605" y="3855506"/>
            <a:ext cx="232729" cy="417029"/>
          </a:xfrm>
          <a:custGeom>
            <a:avLst/>
            <a:gdLst>
              <a:gd name="T0" fmla="*/ 22 w 173"/>
              <a:gd name="T1" fmla="*/ 0 h 310"/>
              <a:gd name="T2" fmla="*/ 173 w 173"/>
              <a:gd name="T3" fmla="*/ 0 h 310"/>
              <a:gd name="T4" fmla="*/ 156 w 173"/>
              <a:gd name="T5" fmla="*/ 310 h 310"/>
              <a:gd name="T6" fmla="*/ 0 w 173"/>
              <a:gd name="T7" fmla="*/ 310 h 310"/>
              <a:gd name="T8" fmla="*/ 22 w 173"/>
              <a:gd name="T9" fmla="*/ 0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3" h="310">
                <a:moveTo>
                  <a:pt x="22" y="0"/>
                </a:moveTo>
                <a:lnTo>
                  <a:pt x="173" y="0"/>
                </a:lnTo>
                <a:lnTo>
                  <a:pt x="156" y="310"/>
                </a:lnTo>
                <a:lnTo>
                  <a:pt x="0" y="310"/>
                </a:lnTo>
                <a:lnTo>
                  <a:pt x="22" y="0"/>
                </a:lnTo>
                <a:close/>
              </a:path>
            </a:pathLst>
          </a:custGeom>
          <a:solidFill>
            <a:srgbClr val="D3D1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Freeform 23"/>
          <p:cNvSpPr>
            <a:spLocks/>
          </p:cNvSpPr>
          <p:nvPr/>
        </p:nvSpPr>
        <p:spPr bwMode="auto">
          <a:xfrm>
            <a:off x="8553558" y="3025483"/>
            <a:ext cx="207169" cy="273087"/>
          </a:xfrm>
          <a:custGeom>
            <a:avLst/>
            <a:gdLst>
              <a:gd name="T0" fmla="*/ 154 w 154"/>
              <a:gd name="T1" fmla="*/ 0 h 203"/>
              <a:gd name="T2" fmla="*/ 142 w 154"/>
              <a:gd name="T3" fmla="*/ 203 h 203"/>
              <a:gd name="T4" fmla="*/ 0 w 154"/>
              <a:gd name="T5" fmla="*/ 203 h 203"/>
              <a:gd name="T6" fmla="*/ 15 w 154"/>
              <a:gd name="T7" fmla="*/ 0 h 203"/>
              <a:gd name="T8" fmla="*/ 154 w 154"/>
              <a:gd name="T9" fmla="*/ 0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4" h="203">
                <a:moveTo>
                  <a:pt x="154" y="0"/>
                </a:moveTo>
                <a:lnTo>
                  <a:pt x="142" y="203"/>
                </a:lnTo>
                <a:lnTo>
                  <a:pt x="0" y="203"/>
                </a:lnTo>
                <a:lnTo>
                  <a:pt x="15" y="0"/>
                </a:lnTo>
                <a:lnTo>
                  <a:pt x="154" y="0"/>
                </a:lnTo>
                <a:close/>
              </a:path>
            </a:pathLst>
          </a:custGeom>
          <a:solidFill>
            <a:srgbClr val="D3D1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Freeform 24"/>
          <p:cNvSpPr>
            <a:spLocks/>
          </p:cNvSpPr>
          <p:nvPr/>
        </p:nvSpPr>
        <p:spPr bwMode="auto">
          <a:xfrm>
            <a:off x="8693465" y="3855506"/>
            <a:ext cx="474875" cy="417029"/>
          </a:xfrm>
          <a:custGeom>
            <a:avLst/>
            <a:gdLst>
              <a:gd name="T0" fmla="*/ 353 w 353"/>
              <a:gd name="T1" fmla="*/ 310 h 310"/>
              <a:gd name="T2" fmla="*/ 0 w 353"/>
              <a:gd name="T3" fmla="*/ 310 h 310"/>
              <a:gd name="T4" fmla="*/ 17 w 353"/>
              <a:gd name="T5" fmla="*/ 0 h 310"/>
              <a:gd name="T6" fmla="*/ 336 w 353"/>
              <a:gd name="T7" fmla="*/ 0 h 310"/>
              <a:gd name="T8" fmla="*/ 353 w 353"/>
              <a:gd name="T9" fmla="*/ 310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3" h="310">
                <a:moveTo>
                  <a:pt x="353" y="310"/>
                </a:moveTo>
                <a:lnTo>
                  <a:pt x="0" y="310"/>
                </a:lnTo>
                <a:lnTo>
                  <a:pt x="17" y="0"/>
                </a:lnTo>
                <a:lnTo>
                  <a:pt x="336" y="0"/>
                </a:lnTo>
                <a:lnTo>
                  <a:pt x="353" y="310"/>
                </a:lnTo>
                <a:close/>
              </a:path>
            </a:pathLst>
          </a:custGeom>
          <a:solidFill>
            <a:srgbClr val="EEE9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Freeform 25"/>
          <p:cNvSpPr>
            <a:spLocks/>
          </p:cNvSpPr>
          <p:nvPr/>
        </p:nvSpPr>
        <p:spPr bwMode="auto">
          <a:xfrm>
            <a:off x="8643690" y="4828126"/>
            <a:ext cx="574424" cy="391470"/>
          </a:xfrm>
          <a:custGeom>
            <a:avLst/>
            <a:gdLst>
              <a:gd name="T0" fmla="*/ 427 w 427"/>
              <a:gd name="T1" fmla="*/ 291 h 291"/>
              <a:gd name="T2" fmla="*/ 0 w 427"/>
              <a:gd name="T3" fmla="*/ 291 h 291"/>
              <a:gd name="T4" fmla="*/ 14 w 427"/>
              <a:gd name="T5" fmla="*/ 0 h 291"/>
              <a:gd name="T6" fmla="*/ 411 w 427"/>
              <a:gd name="T7" fmla="*/ 0 h 291"/>
              <a:gd name="T8" fmla="*/ 427 w 427"/>
              <a:gd name="T9" fmla="*/ 291 h 2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27" h="291">
                <a:moveTo>
                  <a:pt x="427" y="291"/>
                </a:moveTo>
                <a:lnTo>
                  <a:pt x="0" y="291"/>
                </a:lnTo>
                <a:lnTo>
                  <a:pt x="14" y="0"/>
                </a:lnTo>
                <a:lnTo>
                  <a:pt x="411" y="0"/>
                </a:lnTo>
                <a:lnTo>
                  <a:pt x="427" y="291"/>
                </a:lnTo>
                <a:close/>
              </a:path>
            </a:pathLst>
          </a:custGeom>
          <a:solidFill>
            <a:srgbClr val="EEE9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Rectangle 26"/>
          <p:cNvSpPr>
            <a:spLocks noChangeArrowheads="1"/>
          </p:cNvSpPr>
          <p:nvPr/>
        </p:nvSpPr>
        <p:spPr bwMode="auto">
          <a:xfrm>
            <a:off x="8614095" y="2716074"/>
            <a:ext cx="629580" cy="41703"/>
          </a:xfrm>
          <a:prstGeom prst="rect">
            <a:avLst/>
          </a:prstGeom>
          <a:solidFill>
            <a:srgbClr val="EEE9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Rectangle 27"/>
          <p:cNvSpPr>
            <a:spLocks noChangeArrowheads="1"/>
          </p:cNvSpPr>
          <p:nvPr/>
        </p:nvSpPr>
        <p:spPr bwMode="auto">
          <a:xfrm>
            <a:off x="8739204" y="2570786"/>
            <a:ext cx="380708" cy="145288"/>
          </a:xfrm>
          <a:prstGeom prst="rect">
            <a:avLst/>
          </a:prstGeom>
          <a:solidFill>
            <a:srgbClr val="12214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Freeform 28"/>
          <p:cNvSpPr>
            <a:spLocks/>
          </p:cNvSpPr>
          <p:nvPr/>
        </p:nvSpPr>
        <p:spPr bwMode="auto">
          <a:xfrm>
            <a:off x="8513200" y="3298570"/>
            <a:ext cx="231384" cy="556936"/>
          </a:xfrm>
          <a:custGeom>
            <a:avLst/>
            <a:gdLst>
              <a:gd name="T0" fmla="*/ 172 w 172"/>
              <a:gd name="T1" fmla="*/ 0 h 414"/>
              <a:gd name="T2" fmla="*/ 151 w 172"/>
              <a:gd name="T3" fmla="*/ 414 h 414"/>
              <a:gd name="T4" fmla="*/ 0 w 172"/>
              <a:gd name="T5" fmla="*/ 414 h 414"/>
              <a:gd name="T6" fmla="*/ 30 w 172"/>
              <a:gd name="T7" fmla="*/ 0 h 414"/>
              <a:gd name="T8" fmla="*/ 172 w 172"/>
              <a:gd name="T9" fmla="*/ 0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2" h="414">
                <a:moveTo>
                  <a:pt x="172" y="0"/>
                </a:moveTo>
                <a:lnTo>
                  <a:pt x="151" y="414"/>
                </a:lnTo>
                <a:lnTo>
                  <a:pt x="0" y="414"/>
                </a:lnTo>
                <a:lnTo>
                  <a:pt x="30" y="0"/>
                </a:lnTo>
                <a:lnTo>
                  <a:pt x="172" y="0"/>
                </a:lnTo>
                <a:close/>
              </a:path>
            </a:pathLst>
          </a:custGeom>
          <a:gradFill flip="none" rotWithShape="1">
            <a:gsLst>
              <a:gs pos="100000">
                <a:srgbClr val="F8716A"/>
              </a:gs>
              <a:gs pos="40000">
                <a:srgbClr val="F6443B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Freeform 29"/>
          <p:cNvSpPr>
            <a:spLocks/>
          </p:cNvSpPr>
          <p:nvPr/>
        </p:nvSpPr>
        <p:spPr bwMode="auto">
          <a:xfrm>
            <a:off x="8662524" y="4272535"/>
            <a:ext cx="534067" cy="555591"/>
          </a:xfrm>
          <a:custGeom>
            <a:avLst/>
            <a:gdLst>
              <a:gd name="T0" fmla="*/ 397 w 397"/>
              <a:gd name="T1" fmla="*/ 413 h 413"/>
              <a:gd name="T2" fmla="*/ 0 w 397"/>
              <a:gd name="T3" fmla="*/ 413 h 413"/>
              <a:gd name="T4" fmla="*/ 23 w 397"/>
              <a:gd name="T5" fmla="*/ 0 h 413"/>
              <a:gd name="T6" fmla="*/ 376 w 397"/>
              <a:gd name="T7" fmla="*/ 0 h 413"/>
              <a:gd name="T8" fmla="*/ 397 w 397"/>
              <a:gd name="T9" fmla="*/ 413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7" h="413">
                <a:moveTo>
                  <a:pt x="397" y="413"/>
                </a:moveTo>
                <a:lnTo>
                  <a:pt x="0" y="413"/>
                </a:lnTo>
                <a:lnTo>
                  <a:pt x="23" y="0"/>
                </a:lnTo>
                <a:lnTo>
                  <a:pt x="376" y="0"/>
                </a:lnTo>
                <a:lnTo>
                  <a:pt x="397" y="413"/>
                </a:lnTo>
                <a:close/>
              </a:path>
            </a:pathLst>
          </a:custGeom>
          <a:gradFill flip="none" rotWithShape="1">
            <a:gsLst>
              <a:gs pos="100000">
                <a:srgbClr val="F8716A"/>
              </a:gs>
              <a:gs pos="32000">
                <a:srgbClr val="F6443B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Freeform 30"/>
          <p:cNvSpPr>
            <a:spLocks/>
          </p:cNvSpPr>
          <p:nvPr/>
        </p:nvSpPr>
        <p:spPr bwMode="auto">
          <a:xfrm>
            <a:off x="8443247" y="4272535"/>
            <a:ext cx="250218" cy="555591"/>
          </a:xfrm>
          <a:custGeom>
            <a:avLst/>
            <a:gdLst>
              <a:gd name="T0" fmla="*/ 186 w 186"/>
              <a:gd name="T1" fmla="*/ 0 h 413"/>
              <a:gd name="T2" fmla="*/ 163 w 186"/>
              <a:gd name="T3" fmla="*/ 413 h 413"/>
              <a:gd name="T4" fmla="*/ 0 w 186"/>
              <a:gd name="T5" fmla="*/ 413 h 413"/>
              <a:gd name="T6" fmla="*/ 30 w 186"/>
              <a:gd name="T7" fmla="*/ 0 h 413"/>
              <a:gd name="T8" fmla="*/ 186 w 186"/>
              <a:gd name="T9" fmla="*/ 0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6" h="413">
                <a:moveTo>
                  <a:pt x="186" y="0"/>
                </a:moveTo>
                <a:lnTo>
                  <a:pt x="163" y="413"/>
                </a:lnTo>
                <a:lnTo>
                  <a:pt x="0" y="413"/>
                </a:lnTo>
                <a:lnTo>
                  <a:pt x="30" y="0"/>
                </a:lnTo>
                <a:lnTo>
                  <a:pt x="186" y="0"/>
                </a:lnTo>
                <a:close/>
              </a:path>
            </a:pathLst>
          </a:custGeom>
          <a:gradFill flip="none" rotWithShape="1">
            <a:gsLst>
              <a:gs pos="83000">
                <a:srgbClr val="F8716A"/>
              </a:gs>
              <a:gs pos="13000">
                <a:srgbClr val="F6443B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Freeform 31"/>
          <p:cNvSpPr>
            <a:spLocks/>
          </p:cNvSpPr>
          <p:nvPr/>
        </p:nvSpPr>
        <p:spPr bwMode="auto">
          <a:xfrm>
            <a:off x="9098387" y="2818313"/>
            <a:ext cx="235420" cy="207169"/>
          </a:xfrm>
          <a:custGeom>
            <a:avLst/>
            <a:gdLst>
              <a:gd name="T0" fmla="*/ 0 w 175"/>
              <a:gd name="T1" fmla="*/ 154 h 154"/>
              <a:gd name="T2" fmla="*/ 141 w 175"/>
              <a:gd name="T3" fmla="*/ 154 h 154"/>
              <a:gd name="T4" fmla="*/ 175 w 175"/>
              <a:gd name="T5" fmla="*/ 0 h 154"/>
              <a:gd name="T6" fmla="*/ 35 w 175"/>
              <a:gd name="T7" fmla="*/ 0 h 154"/>
              <a:gd name="T8" fmla="*/ 0 w 175"/>
              <a:gd name="T9" fmla="*/ 154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5" h="154">
                <a:moveTo>
                  <a:pt x="0" y="154"/>
                </a:moveTo>
                <a:lnTo>
                  <a:pt x="141" y="154"/>
                </a:lnTo>
                <a:lnTo>
                  <a:pt x="175" y="0"/>
                </a:lnTo>
                <a:lnTo>
                  <a:pt x="35" y="0"/>
                </a:lnTo>
                <a:lnTo>
                  <a:pt x="0" y="154"/>
                </a:lnTo>
                <a:close/>
              </a:path>
            </a:pathLst>
          </a:custGeom>
          <a:solidFill>
            <a:srgbClr val="12214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Freeform 32"/>
          <p:cNvSpPr>
            <a:spLocks/>
          </p:cNvSpPr>
          <p:nvPr/>
        </p:nvSpPr>
        <p:spPr bwMode="auto">
          <a:xfrm>
            <a:off x="9196591" y="4828126"/>
            <a:ext cx="247527" cy="391470"/>
          </a:xfrm>
          <a:custGeom>
            <a:avLst/>
            <a:gdLst>
              <a:gd name="T0" fmla="*/ 163 w 184"/>
              <a:gd name="T1" fmla="*/ 0 h 291"/>
              <a:gd name="T2" fmla="*/ 0 w 184"/>
              <a:gd name="T3" fmla="*/ 0 h 291"/>
              <a:gd name="T4" fmla="*/ 16 w 184"/>
              <a:gd name="T5" fmla="*/ 291 h 291"/>
              <a:gd name="T6" fmla="*/ 184 w 184"/>
              <a:gd name="T7" fmla="*/ 291 h 291"/>
              <a:gd name="T8" fmla="*/ 163 w 184"/>
              <a:gd name="T9" fmla="*/ 0 h 2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4" h="291">
                <a:moveTo>
                  <a:pt x="163" y="0"/>
                </a:moveTo>
                <a:lnTo>
                  <a:pt x="0" y="0"/>
                </a:lnTo>
                <a:lnTo>
                  <a:pt x="16" y="291"/>
                </a:lnTo>
                <a:lnTo>
                  <a:pt x="184" y="291"/>
                </a:lnTo>
                <a:lnTo>
                  <a:pt x="163" y="0"/>
                </a:lnTo>
                <a:close/>
              </a:path>
            </a:pathLst>
          </a:custGeom>
          <a:solidFill>
            <a:srgbClr val="91919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Freeform 33"/>
          <p:cNvSpPr>
            <a:spLocks/>
          </p:cNvSpPr>
          <p:nvPr/>
        </p:nvSpPr>
        <p:spPr bwMode="auto">
          <a:xfrm>
            <a:off x="9145471" y="3855506"/>
            <a:ext cx="232729" cy="417029"/>
          </a:xfrm>
          <a:custGeom>
            <a:avLst/>
            <a:gdLst>
              <a:gd name="T0" fmla="*/ 149 w 173"/>
              <a:gd name="T1" fmla="*/ 0 h 310"/>
              <a:gd name="T2" fmla="*/ 0 w 173"/>
              <a:gd name="T3" fmla="*/ 0 h 310"/>
              <a:gd name="T4" fmla="*/ 17 w 173"/>
              <a:gd name="T5" fmla="*/ 310 h 310"/>
              <a:gd name="T6" fmla="*/ 173 w 173"/>
              <a:gd name="T7" fmla="*/ 310 h 310"/>
              <a:gd name="T8" fmla="*/ 149 w 173"/>
              <a:gd name="T9" fmla="*/ 0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3" h="310">
                <a:moveTo>
                  <a:pt x="149" y="0"/>
                </a:moveTo>
                <a:lnTo>
                  <a:pt x="0" y="0"/>
                </a:lnTo>
                <a:lnTo>
                  <a:pt x="17" y="310"/>
                </a:lnTo>
                <a:lnTo>
                  <a:pt x="173" y="310"/>
                </a:lnTo>
                <a:lnTo>
                  <a:pt x="149" y="0"/>
                </a:lnTo>
                <a:close/>
              </a:path>
            </a:pathLst>
          </a:custGeom>
          <a:solidFill>
            <a:srgbClr val="91919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" name="Freeform 34"/>
          <p:cNvSpPr>
            <a:spLocks/>
          </p:cNvSpPr>
          <p:nvPr/>
        </p:nvSpPr>
        <p:spPr bwMode="auto">
          <a:xfrm>
            <a:off x="9098387" y="3025483"/>
            <a:ext cx="209860" cy="273087"/>
          </a:xfrm>
          <a:custGeom>
            <a:avLst/>
            <a:gdLst>
              <a:gd name="T0" fmla="*/ 0 w 156"/>
              <a:gd name="T1" fmla="*/ 0 h 203"/>
              <a:gd name="T2" fmla="*/ 11 w 156"/>
              <a:gd name="T3" fmla="*/ 203 h 203"/>
              <a:gd name="T4" fmla="*/ 156 w 156"/>
              <a:gd name="T5" fmla="*/ 203 h 203"/>
              <a:gd name="T6" fmla="*/ 141 w 156"/>
              <a:gd name="T7" fmla="*/ 0 h 203"/>
              <a:gd name="T8" fmla="*/ 0 w 156"/>
              <a:gd name="T9" fmla="*/ 0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6" h="203">
                <a:moveTo>
                  <a:pt x="0" y="0"/>
                </a:moveTo>
                <a:lnTo>
                  <a:pt x="11" y="203"/>
                </a:lnTo>
                <a:lnTo>
                  <a:pt x="156" y="203"/>
                </a:lnTo>
                <a:lnTo>
                  <a:pt x="141" y="0"/>
                </a:lnTo>
                <a:lnTo>
                  <a:pt x="0" y="0"/>
                </a:lnTo>
                <a:close/>
              </a:path>
            </a:pathLst>
          </a:custGeom>
          <a:solidFill>
            <a:srgbClr val="91919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Freeform 35"/>
          <p:cNvSpPr>
            <a:spLocks/>
          </p:cNvSpPr>
          <p:nvPr/>
        </p:nvSpPr>
        <p:spPr bwMode="auto">
          <a:xfrm>
            <a:off x="8716334" y="2818313"/>
            <a:ext cx="429137" cy="207169"/>
          </a:xfrm>
          <a:custGeom>
            <a:avLst/>
            <a:gdLst>
              <a:gd name="T0" fmla="*/ 158 w 319"/>
              <a:gd name="T1" fmla="*/ 0 h 154"/>
              <a:gd name="T2" fmla="*/ 0 w 319"/>
              <a:gd name="T3" fmla="*/ 0 h 154"/>
              <a:gd name="T4" fmla="*/ 33 w 319"/>
              <a:gd name="T5" fmla="*/ 154 h 154"/>
              <a:gd name="T6" fmla="*/ 158 w 319"/>
              <a:gd name="T7" fmla="*/ 154 h 154"/>
              <a:gd name="T8" fmla="*/ 284 w 319"/>
              <a:gd name="T9" fmla="*/ 154 h 154"/>
              <a:gd name="T10" fmla="*/ 319 w 319"/>
              <a:gd name="T11" fmla="*/ 0 h 154"/>
              <a:gd name="T12" fmla="*/ 158 w 319"/>
              <a:gd name="T13" fmla="*/ 0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9" h="154">
                <a:moveTo>
                  <a:pt x="158" y="0"/>
                </a:moveTo>
                <a:lnTo>
                  <a:pt x="0" y="0"/>
                </a:lnTo>
                <a:lnTo>
                  <a:pt x="33" y="154"/>
                </a:lnTo>
                <a:lnTo>
                  <a:pt x="158" y="154"/>
                </a:lnTo>
                <a:lnTo>
                  <a:pt x="284" y="154"/>
                </a:lnTo>
                <a:lnTo>
                  <a:pt x="319" y="0"/>
                </a:lnTo>
                <a:lnTo>
                  <a:pt x="158" y="0"/>
                </a:lnTo>
                <a:close/>
              </a:path>
            </a:pathLst>
          </a:custGeom>
          <a:solidFill>
            <a:srgbClr val="1256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" name="Freeform 36"/>
          <p:cNvSpPr>
            <a:spLocks/>
          </p:cNvSpPr>
          <p:nvPr/>
        </p:nvSpPr>
        <p:spPr bwMode="auto">
          <a:xfrm>
            <a:off x="8744585" y="3025483"/>
            <a:ext cx="368600" cy="273087"/>
          </a:xfrm>
          <a:custGeom>
            <a:avLst/>
            <a:gdLst>
              <a:gd name="T0" fmla="*/ 263 w 274"/>
              <a:gd name="T1" fmla="*/ 0 h 203"/>
              <a:gd name="T2" fmla="*/ 137 w 274"/>
              <a:gd name="T3" fmla="*/ 0 h 203"/>
              <a:gd name="T4" fmla="*/ 12 w 274"/>
              <a:gd name="T5" fmla="*/ 0 h 203"/>
              <a:gd name="T6" fmla="*/ 0 w 274"/>
              <a:gd name="T7" fmla="*/ 203 h 203"/>
              <a:gd name="T8" fmla="*/ 137 w 274"/>
              <a:gd name="T9" fmla="*/ 203 h 203"/>
              <a:gd name="T10" fmla="*/ 274 w 274"/>
              <a:gd name="T11" fmla="*/ 203 h 203"/>
              <a:gd name="T12" fmla="*/ 263 w 274"/>
              <a:gd name="T13" fmla="*/ 0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4" h="203">
                <a:moveTo>
                  <a:pt x="263" y="0"/>
                </a:moveTo>
                <a:lnTo>
                  <a:pt x="137" y="0"/>
                </a:lnTo>
                <a:lnTo>
                  <a:pt x="12" y="0"/>
                </a:lnTo>
                <a:lnTo>
                  <a:pt x="0" y="203"/>
                </a:lnTo>
                <a:lnTo>
                  <a:pt x="137" y="203"/>
                </a:lnTo>
                <a:lnTo>
                  <a:pt x="274" y="203"/>
                </a:lnTo>
                <a:lnTo>
                  <a:pt x="263" y="0"/>
                </a:lnTo>
                <a:close/>
              </a:path>
            </a:pathLst>
          </a:custGeom>
          <a:solidFill>
            <a:srgbClr val="EEE9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Freeform 37"/>
          <p:cNvSpPr>
            <a:spLocks/>
          </p:cNvSpPr>
          <p:nvPr/>
        </p:nvSpPr>
        <p:spPr bwMode="auto">
          <a:xfrm>
            <a:off x="8525308" y="2757777"/>
            <a:ext cx="808499" cy="60537"/>
          </a:xfrm>
          <a:custGeom>
            <a:avLst/>
            <a:gdLst>
              <a:gd name="T0" fmla="*/ 300 w 601"/>
              <a:gd name="T1" fmla="*/ 0 h 45"/>
              <a:gd name="T2" fmla="*/ 0 w 601"/>
              <a:gd name="T3" fmla="*/ 0 h 45"/>
              <a:gd name="T4" fmla="*/ 0 w 601"/>
              <a:gd name="T5" fmla="*/ 45 h 45"/>
              <a:gd name="T6" fmla="*/ 300 w 601"/>
              <a:gd name="T7" fmla="*/ 45 h 45"/>
              <a:gd name="T8" fmla="*/ 601 w 601"/>
              <a:gd name="T9" fmla="*/ 45 h 45"/>
              <a:gd name="T10" fmla="*/ 601 w 601"/>
              <a:gd name="T11" fmla="*/ 0 h 45"/>
              <a:gd name="T12" fmla="*/ 300 w 601"/>
              <a:gd name="T13" fmla="*/ 0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01" h="45">
                <a:moveTo>
                  <a:pt x="300" y="0"/>
                </a:moveTo>
                <a:lnTo>
                  <a:pt x="0" y="0"/>
                </a:lnTo>
                <a:lnTo>
                  <a:pt x="0" y="45"/>
                </a:lnTo>
                <a:lnTo>
                  <a:pt x="300" y="45"/>
                </a:lnTo>
                <a:lnTo>
                  <a:pt x="601" y="45"/>
                </a:lnTo>
                <a:lnTo>
                  <a:pt x="601" y="0"/>
                </a:lnTo>
                <a:lnTo>
                  <a:pt x="300" y="0"/>
                </a:lnTo>
                <a:close/>
              </a:path>
            </a:pathLst>
          </a:custGeom>
          <a:solidFill>
            <a:srgbClr val="12214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Rectangle 38"/>
          <p:cNvSpPr>
            <a:spLocks noChangeArrowheads="1"/>
          </p:cNvSpPr>
          <p:nvPr/>
        </p:nvSpPr>
        <p:spPr bwMode="auto">
          <a:xfrm>
            <a:off x="8658488" y="2449713"/>
            <a:ext cx="347076" cy="121073"/>
          </a:xfrm>
          <a:prstGeom prst="rect">
            <a:avLst/>
          </a:prstGeom>
          <a:solidFill>
            <a:srgbClr val="EEE9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Freeform 39"/>
          <p:cNvSpPr>
            <a:spLocks/>
          </p:cNvSpPr>
          <p:nvPr/>
        </p:nvSpPr>
        <p:spPr bwMode="auto">
          <a:xfrm>
            <a:off x="8658488" y="2179316"/>
            <a:ext cx="347076" cy="270397"/>
          </a:xfrm>
          <a:custGeom>
            <a:avLst/>
            <a:gdLst>
              <a:gd name="T0" fmla="*/ 109 w 109"/>
              <a:gd name="T1" fmla="*/ 85 h 85"/>
              <a:gd name="T2" fmla="*/ 0 w 109"/>
              <a:gd name="T3" fmla="*/ 85 h 85"/>
              <a:gd name="T4" fmla="*/ 69 w 109"/>
              <a:gd name="T5" fmla="*/ 44 h 85"/>
              <a:gd name="T6" fmla="*/ 69 w 109"/>
              <a:gd name="T7" fmla="*/ 11 h 85"/>
              <a:gd name="T8" fmla="*/ 76 w 109"/>
              <a:gd name="T9" fmla="*/ 0 h 85"/>
              <a:gd name="T10" fmla="*/ 85 w 109"/>
              <a:gd name="T11" fmla="*/ 0 h 85"/>
              <a:gd name="T12" fmla="*/ 85 w 109"/>
              <a:gd name="T13" fmla="*/ 52 h 85"/>
              <a:gd name="T14" fmla="*/ 109 w 109"/>
              <a:gd name="T15" fmla="*/ 85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9" h="85">
                <a:moveTo>
                  <a:pt x="109" y="85"/>
                </a:moveTo>
                <a:cubicBezTo>
                  <a:pt x="0" y="85"/>
                  <a:pt x="0" y="85"/>
                  <a:pt x="0" y="85"/>
                </a:cubicBezTo>
                <a:cubicBezTo>
                  <a:pt x="69" y="44"/>
                  <a:pt x="69" y="44"/>
                  <a:pt x="69" y="44"/>
                </a:cubicBezTo>
                <a:cubicBezTo>
                  <a:pt x="69" y="44"/>
                  <a:pt x="69" y="19"/>
                  <a:pt x="69" y="11"/>
                </a:cubicBezTo>
                <a:cubicBezTo>
                  <a:pt x="69" y="3"/>
                  <a:pt x="72" y="0"/>
                  <a:pt x="76" y="0"/>
                </a:cubicBezTo>
                <a:cubicBezTo>
                  <a:pt x="80" y="0"/>
                  <a:pt x="85" y="0"/>
                  <a:pt x="85" y="0"/>
                </a:cubicBezTo>
                <a:cubicBezTo>
                  <a:pt x="85" y="52"/>
                  <a:pt x="85" y="52"/>
                  <a:pt x="85" y="52"/>
                </a:cubicBezTo>
                <a:lnTo>
                  <a:pt x="109" y="85"/>
                </a:lnTo>
                <a:close/>
              </a:path>
            </a:pathLst>
          </a:custGeom>
          <a:solidFill>
            <a:srgbClr val="F6443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Freeform 40"/>
          <p:cNvSpPr>
            <a:spLocks/>
          </p:cNvSpPr>
          <p:nvPr/>
        </p:nvSpPr>
        <p:spPr bwMode="auto">
          <a:xfrm>
            <a:off x="9113185" y="3298570"/>
            <a:ext cx="232729" cy="556936"/>
          </a:xfrm>
          <a:custGeom>
            <a:avLst/>
            <a:gdLst>
              <a:gd name="T0" fmla="*/ 0 w 173"/>
              <a:gd name="T1" fmla="*/ 0 h 414"/>
              <a:gd name="T2" fmla="*/ 24 w 173"/>
              <a:gd name="T3" fmla="*/ 414 h 414"/>
              <a:gd name="T4" fmla="*/ 173 w 173"/>
              <a:gd name="T5" fmla="*/ 414 h 414"/>
              <a:gd name="T6" fmla="*/ 145 w 173"/>
              <a:gd name="T7" fmla="*/ 0 h 414"/>
              <a:gd name="T8" fmla="*/ 0 w 173"/>
              <a:gd name="T9" fmla="*/ 0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3" h="414">
                <a:moveTo>
                  <a:pt x="0" y="0"/>
                </a:moveTo>
                <a:lnTo>
                  <a:pt x="24" y="414"/>
                </a:lnTo>
                <a:lnTo>
                  <a:pt x="173" y="414"/>
                </a:lnTo>
                <a:lnTo>
                  <a:pt x="145" y="0"/>
                </a:lnTo>
                <a:lnTo>
                  <a:pt x="0" y="0"/>
                </a:lnTo>
                <a:close/>
              </a:path>
            </a:pathLst>
          </a:custGeom>
          <a:solidFill>
            <a:srgbClr val="8E1F1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Freeform 41"/>
          <p:cNvSpPr>
            <a:spLocks/>
          </p:cNvSpPr>
          <p:nvPr/>
        </p:nvSpPr>
        <p:spPr bwMode="auto">
          <a:xfrm>
            <a:off x="8716334" y="3298570"/>
            <a:ext cx="429137" cy="556936"/>
          </a:xfrm>
          <a:custGeom>
            <a:avLst/>
            <a:gdLst>
              <a:gd name="T0" fmla="*/ 295 w 319"/>
              <a:gd name="T1" fmla="*/ 0 h 414"/>
              <a:gd name="T2" fmla="*/ 158 w 319"/>
              <a:gd name="T3" fmla="*/ 0 h 414"/>
              <a:gd name="T4" fmla="*/ 21 w 319"/>
              <a:gd name="T5" fmla="*/ 0 h 414"/>
              <a:gd name="T6" fmla="*/ 0 w 319"/>
              <a:gd name="T7" fmla="*/ 414 h 414"/>
              <a:gd name="T8" fmla="*/ 158 w 319"/>
              <a:gd name="T9" fmla="*/ 414 h 414"/>
              <a:gd name="T10" fmla="*/ 319 w 319"/>
              <a:gd name="T11" fmla="*/ 414 h 414"/>
              <a:gd name="T12" fmla="*/ 295 w 319"/>
              <a:gd name="T13" fmla="*/ 0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9" h="414">
                <a:moveTo>
                  <a:pt x="295" y="0"/>
                </a:moveTo>
                <a:lnTo>
                  <a:pt x="158" y="0"/>
                </a:lnTo>
                <a:lnTo>
                  <a:pt x="21" y="0"/>
                </a:lnTo>
                <a:lnTo>
                  <a:pt x="0" y="414"/>
                </a:lnTo>
                <a:lnTo>
                  <a:pt x="158" y="414"/>
                </a:lnTo>
                <a:lnTo>
                  <a:pt x="319" y="414"/>
                </a:lnTo>
                <a:lnTo>
                  <a:pt x="295" y="0"/>
                </a:lnTo>
                <a:close/>
              </a:path>
            </a:pathLst>
          </a:custGeom>
          <a:gradFill flip="none" rotWithShape="1">
            <a:gsLst>
              <a:gs pos="100000">
                <a:srgbClr val="F8716A"/>
              </a:gs>
              <a:gs pos="38000">
                <a:srgbClr val="F6443B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Freeform 42"/>
          <p:cNvSpPr>
            <a:spLocks/>
          </p:cNvSpPr>
          <p:nvPr/>
        </p:nvSpPr>
        <p:spPr bwMode="auto">
          <a:xfrm>
            <a:off x="9168340" y="4272535"/>
            <a:ext cx="247527" cy="555591"/>
          </a:xfrm>
          <a:custGeom>
            <a:avLst/>
            <a:gdLst>
              <a:gd name="T0" fmla="*/ 0 w 184"/>
              <a:gd name="T1" fmla="*/ 0 h 413"/>
              <a:gd name="T2" fmla="*/ 21 w 184"/>
              <a:gd name="T3" fmla="*/ 413 h 413"/>
              <a:gd name="T4" fmla="*/ 184 w 184"/>
              <a:gd name="T5" fmla="*/ 413 h 413"/>
              <a:gd name="T6" fmla="*/ 156 w 184"/>
              <a:gd name="T7" fmla="*/ 0 h 413"/>
              <a:gd name="T8" fmla="*/ 0 w 184"/>
              <a:gd name="T9" fmla="*/ 0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4" h="413">
                <a:moveTo>
                  <a:pt x="0" y="0"/>
                </a:moveTo>
                <a:lnTo>
                  <a:pt x="21" y="413"/>
                </a:lnTo>
                <a:lnTo>
                  <a:pt x="184" y="413"/>
                </a:lnTo>
                <a:lnTo>
                  <a:pt x="156" y="0"/>
                </a:lnTo>
                <a:lnTo>
                  <a:pt x="0" y="0"/>
                </a:lnTo>
                <a:close/>
              </a:path>
            </a:pathLst>
          </a:custGeom>
          <a:solidFill>
            <a:srgbClr val="8E1F1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Rectangle 43"/>
          <p:cNvSpPr>
            <a:spLocks noChangeArrowheads="1"/>
          </p:cNvSpPr>
          <p:nvPr/>
        </p:nvSpPr>
        <p:spPr bwMode="auto">
          <a:xfrm>
            <a:off x="8798395" y="2570786"/>
            <a:ext cx="260980" cy="145288"/>
          </a:xfrm>
          <a:prstGeom prst="rect">
            <a:avLst/>
          </a:prstGeom>
          <a:solidFill>
            <a:srgbClr val="1256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Rectangle 44"/>
          <p:cNvSpPr>
            <a:spLocks noChangeArrowheads="1"/>
          </p:cNvSpPr>
          <p:nvPr/>
        </p:nvSpPr>
        <p:spPr bwMode="auto">
          <a:xfrm>
            <a:off x="9005564" y="2449713"/>
            <a:ext cx="197753" cy="121073"/>
          </a:xfrm>
          <a:prstGeom prst="rect">
            <a:avLst/>
          </a:prstGeom>
          <a:solidFill>
            <a:srgbClr val="91919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Freeform 45"/>
          <p:cNvSpPr>
            <a:spLocks/>
          </p:cNvSpPr>
          <p:nvPr/>
        </p:nvSpPr>
        <p:spPr bwMode="auto">
          <a:xfrm>
            <a:off x="8928885" y="2179316"/>
            <a:ext cx="274432" cy="270397"/>
          </a:xfrm>
          <a:custGeom>
            <a:avLst/>
            <a:gdLst>
              <a:gd name="T0" fmla="*/ 86 w 86"/>
              <a:gd name="T1" fmla="*/ 85 h 85"/>
              <a:gd name="T2" fmla="*/ 24 w 86"/>
              <a:gd name="T3" fmla="*/ 85 h 85"/>
              <a:gd name="T4" fmla="*/ 0 w 86"/>
              <a:gd name="T5" fmla="*/ 52 h 85"/>
              <a:gd name="T6" fmla="*/ 0 w 86"/>
              <a:gd name="T7" fmla="*/ 0 h 85"/>
              <a:gd name="T8" fmla="*/ 9 w 86"/>
              <a:gd name="T9" fmla="*/ 0 h 85"/>
              <a:gd name="T10" fmla="*/ 17 w 86"/>
              <a:gd name="T11" fmla="*/ 11 h 85"/>
              <a:gd name="T12" fmla="*/ 17 w 86"/>
              <a:gd name="T13" fmla="*/ 44 h 85"/>
              <a:gd name="T14" fmla="*/ 86 w 86"/>
              <a:gd name="T15" fmla="*/ 85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6" h="85">
                <a:moveTo>
                  <a:pt x="86" y="85"/>
                </a:moveTo>
                <a:cubicBezTo>
                  <a:pt x="24" y="85"/>
                  <a:pt x="24" y="85"/>
                  <a:pt x="24" y="85"/>
                </a:cubicBezTo>
                <a:cubicBezTo>
                  <a:pt x="0" y="52"/>
                  <a:pt x="0" y="52"/>
                  <a:pt x="0" y="52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5" y="0"/>
                  <a:pt x="9" y="0"/>
                </a:cubicBezTo>
                <a:cubicBezTo>
                  <a:pt x="13" y="0"/>
                  <a:pt x="17" y="3"/>
                  <a:pt x="17" y="11"/>
                </a:cubicBezTo>
                <a:cubicBezTo>
                  <a:pt x="17" y="19"/>
                  <a:pt x="17" y="44"/>
                  <a:pt x="17" y="44"/>
                </a:cubicBezTo>
                <a:lnTo>
                  <a:pt x="86" y="85"/>
                </a:lnTo>
                <a:close/>
              </a:path>
            </a:pathLst>
          </a:custGeom>
          <a:solidFill>
            <a:srgbClr val="8E1F1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Freeform 46"/>
          <p:cNvSpPr>
            <a:spLocks/>
          </p:cNvSpPr>
          <p:nvPr/>
        </p:nvSpPr>
        <p:spPr bwMode="auto">
          <a:xfrm>
            <a:off x="5990845" y="3718290"/>
            <a:ext cx="3879719" cy="1927752"/>
          </a:xfrm>
          <a:custGeom>
            <a:avLst/>
            <a:gdLst>
              <a:gd name="T0" fmla="*/ 0 w 2884"/>
              <a:gd name="T1" fmla="*/ 1433 h 1433"/>
              <a:gd name="T2" fmla="*/ 2884 w 2884"/>
              <a:gd name="T3" fmla="*/ 1433 h 1433"/>
              <a:gd name="T4" fmla="*/ 1452 w 2884"/>
              <a:gd name="T5" fmla="*/ 0 h 1433"/>
              <a:gd name="T6" fmla="*/ 0 w 2884"/>
              <a:gd name="T7" fmla="*/ 1433 h 1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884" h="1433">
                <a:moveTo>
                  <a:pt x="0" y="1433"/>
                </a:moveTo>
                <a:lnTo>
                  <a:pt x="2884" y="1433"/>
                </a:lnTo>
                <a:lnTo>
                  <a:pt x="1452" y="0"/>
                </a:lnTo>
                <a:lnTo>
                  <a:pt x="0" y="1433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Freeform 47"/>
          <p:cNvSpPr>
            <a:spLocks/>
          </p:cNvSpPr>
          <p:nvPr/>
        </p:nvSpPr>
        <p:spPr bwMode="auto">
          <a:xfrm>
            <a:off x="8942337" y="4717815"/>
            <a:ext cx="1869906" cy="928227"/>
          </a:xfrm>
          <a:custGeom>
            <a:avLst/>
            <a:gdLst>
              <a:gd name="T0" fmla="*/ 0 w 1390"/>
              <a:gd name="T1" fmla="*/ 690 h 690"/>
              <a:gd name="T2" fmla="*/ 1390 w 1390"/>
              <a:gd name="T3" fmla="*/ 690 h 690"/>
              <a:gd name="T4" fmla="*/ 700 w 1390"/>
              <a:gd name="T5" fmla="*/ 0 h 690"/>
              <a:gd name="T6" fmla="*/ 0 w 1390"/>
              <a:gd name="T7" fmla="*/ 690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390" h="690">
                <a:moveTo>
                  <a:pt x="0" y="690"/>
                </a:moveTo>
                <a:lnTo>
                  <a:pt x="1390" y="690"/>
                </a:lnTo>
                <a:lnTo>
                  <a:pt x="700" y="0"/>
                </a:lnTo>
                <a:lnTo>
                  <a:pt x="0" y="690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Rectangle 48"/>
          <p:cNvSpPr>
            <a:spLocks noChangeArrowheads="1"/>
          </p:cNvSpPr>
          <p:nvPr/>
        </p:nvSpPr>
        <p:spPr bwMode="auto">
          <a:xfrm>
            <a:off x="3110" y="5647558"/>
            <a:ext cx="12188890" cy="1210442"/>
          </a:xfrm>
          <a:prstGeom prst="rect">
            <a:avLst/>
          </a:prstGeom>
          <a:gradFill flip="none" rotWithShape="1">
            <a:gsLst>
              <a:gs pos="100000">
                <a:srgbClr val="070C1E"/>
              </a:gs>
              <a:gs pos="0">
                <a:srgbClr val="122141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49"/>
          <p:cNvSpPr>
            <a:spLocks/>
          </p:cNvSpPr>
          <p:nvPr/>
        </p:nvSpPr>
        <p:spPr bwMode="auto">
          <a:xfrm>
            <a:off x="324625" y="5646042"/>
            <a:ext cx="1662737" cy="827333"/>
          </a:xfrm>
          <a:custGeom>
            <a:avLst/>
            <a:gdLst>
              <a:gd name="T0" fmla="*/ 0 w 1236"/>
              <a:gd name="T1" fmla="*/ 0 h 615"/>
              <a:gd name="T2" fmla="*/ 1236 w 1236"/>
              <a:gd name="T3" fmla="*/ 0 h 615"/>
              <a:gd name="T4" fmla="*/ 621 w 1236"/>
              <a:gd name="T5" fmla="*/ 615 h 615"/>
              <a:gd name="T6" fmla="*/ 0 w 1236"/>
              <a:gd name="T7" fmla="*/ 0 h 6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36" h="615">
                <a:moveTo>
                  <a:pt x="0" y="0"/>
                </a:moveTo>
                <a:lnTo>
                  <a:pt x="1236" y="0"/>
                </a:lnTo>
                <a:lnTo>
                  <a:pt x="621" y="615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10000"/>
                </a:srgbClr>
              </a:gs>
              <a:gs pos="21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Freeform 50"/>
          <p:cNvSpPr>
            <a:spLocks/>
          </p:cNvSpPr>
          <p:nvPr/>
        </p:nvSpPr>
        <p:spPr bwMode="auto">
          <a:xfrm>
            <a:off x="1224601" y="5646042"/>
            <a:ext cx="2565404" cy="1275303"/>
          </a:xfrm>
          <a:custGeom>
            <a:avLst/>
            <a:gdLst>
              <a:gd name="T0" fmla="*/ 0 w 1907"/>
              <a:gd name="T1" fmla="*/ 0 h 948"/>
              <a:gd name="T2" fmla="*/ 1907 w 1907"/>
              <a:gd name="T3" fmla="*/ 0 h 948"/>
              <a:gd name="T4" fmla="*/ 962 w 1907"/>
              <a:gd name="T5" fmla="*/ 948 h 948"/>
              <a:gd name="T6" fmla="*/ 0 w 1907"/>
              <a:gd name="T7" fmla="*/ 0 h 9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07" h="948">
                <a:moveTo>
                  <a:pt x="0" y="0"/>
                </a:moveTo>
                <a:lnTo>
                  <a:pt x="1907" y="0"/>
                </a:lnTo>
                <a:lnTo>
                  <a:pt x="962" y="94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Freeform 51"/>
          <p:cNvSpPr>
            <a:spLocks/>
          </p:cNvSpPr>
          <p:nvPr/>
        </p:nvSpPr>
        <p:spPr bwMode="auto">
          <a:xfrm>
            <a:off x="4162641" y="5646042"/>
            <a:ext cx="1004907" cy="499090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Freeform 52"/>
          <p:cNvSpPr>
            <a:spLocks/>
          </p:cNvSpPr>
          <p:nvPr/>
        </p:nvSpPr>
        <p:spPr bwMode="auto">
          <a:xfrm>
            <a:off x="10138270" y="5646042"/>
            <a:ext cx="1951967" cy="969930"/>
          </a:xfrm>
          <a:custGeom>
            <a:avLst/>
            <a:gdLst>
              <a:gd name="T0" fmla="*/ 0 w 1451"/>
              <a:gd name="T1" fmla="*/ 0 h 721"/>
              <a:gd name="T2" fmla="*/ 1451 w 1451"/>
              <a:gd name="T3" fmla="*/ 0 h 721"/>
              <a:gd name="T4" fmla="*/ 730 w 1451"/>
              <a:gd name="T5" fmla="*/ 721 h 721"/>
              <a:gd name="T6" fmla="*/ 0 w 1451"/>
              <a:gd name="T7" fmla="*/ 0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51" h="721">
                <a:moveTo>
                  <a:pt x="0" y="0"/>
                </a:moveTo>
                <a:lnTo>
                  <a:pt x="1451" y="0"/>
                </a:lnTo>
                <a:lnTo>
                  <a:pt x="730" y="72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4000"/>
                </a:srgbClr>
              </a:gs>
              <a:gs pos="7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Freeform 53"/>
          <p:cNvSpPr>
            <a:spLocks/>
          </p:cNvSpPr>
          <p:nvPr/>
        </p:nvSpPr>
        <p:spPr bwMode="auto">
          <a:xfrm>
            <a:off x="8413652" y="5646043"/>
            <a:ext cx="1030466" cy="1478658"/>
          </a:xfrm>
          <a:custGeom>
            <a:avLst/>
            <a:gdLst>
              <a:gd name="T0" fmla="*/ 324 w 324"/>
              <a:gd name="T1" fmla="*/ 0 h 956"/>
              <a:gd name="T2" fmla="*/ 253 w 324"/>
              <a:gd name="T3" fmla="*/ 0 h 956"/>
              <a:gd name="T4" fmla="*/ 72 w 324"/>
              <a:gd name="T5" fmla="*/ 0 h 956"/>
              <a:gd name="T6" fmla="*/ 0 w 324"/>
              <a:gd name="T7" fmla="*/ 0 h 956"/>
              <a:gd name="T8" fmla="*/ 9 w 324"/>
              <a:gd name="T9" fmla="*/ 123 h 956"/>
              <a:gd name="T10" fmla="*/ 22 w 324"/>
              <a:gd name="T11" fmla="*/ 299 h 956"/>
              <a:gd name="T12" fmla="*/ 22 w 324"/>
              <a:gd name="T13" fmla="*/ 299 h 956"/>
              <a:gd name="T14" fmla="*/ 31 w 324"/>
              <a:gd name="T15" fmla="*/ 429 h 956"/>
              <a:gd name="T16" fmla="*/ 44 w 324"/>
              <a:gd name="T17" fmla="*/ 604 h 956"/>
              <a:gd name="T18" fmla="*/ 44 w 324"/>
              <a:gd name="T19" fmla="*/ 604 h 956"/>
              <a:gd name="T20" fmla="*/ 50 w 324"/>
              <a:gd name="T21" fmla="*/ 690 h 956"/>
              <a:gd name="T22" fmla="*/ 35 w 324"/>
              <a:gd name="T23" fmla="*/ 755 h 956"/>
              <a:gd name="T24" fmla="*/ 35 w 324"/>
              <a:gd name="T25" fmla="*/ 774 h 956"/>
              <a:gd name="T26" fmla="*/ 63 w 324"/>
              <a:gd name="T27" fmla="*/ 774 h 956"/>
              <a:gd name="T28" fmla="*/ 63 w 324"/>
              <a:gd name="T29" fmla="*/ 787 h 956"/>
              <a:gd name="T30" fmla="*/ 102 w 324"/>
              <a:gd name="T31" fmla="*/ 787 h 956"/>
              <a:gd name="T32" fmla="*/ 102 w 324"/>
              <a:gd name="T33" fmla="*/ 833 h 956"/>
              <a:gd name="T34" fmla="*/ 77 w 324"/>
              <a:gd name="T35" fmla="*/ 833 h 956"/>
              <a:gd name="T36" fmla="*/ 77 w 324"/>
              <a:gd name="T37" fmla="*/ 871 h 956"/>
              <a:gd name="T38" fmla="*/ 146 w 324"/>
              <a:gd name="T39" fmla="*/ 912 h 956"/>
              <a:gd name="T40" fmla="*/ 146 w 324"/>
              <a:gd name="T41" fmla="*/ 945 h 956"/>
              <a:gd name="T42" fmla="*/ 153 w 324"/>
              <a:gd name="T43" fmla="*/ 956 h 956"/>
              <a:gd name="T44" fmla="*/ 162 w 324"/>
              <a:gd name="T45" fmla="*/ 956 h 956"/>
              <a:gd name="T46" fmla="*/ 171 w 324"/>
              <a:gd name="T47" fmla="*/ 956 h 956"/>
              <a:gd name="T48" fmla="*/ 179 w 324"/>
              <a:gd name="T49" fmla="*/ 945 h 956"/>
              <a:gd name="T50" fmla="*/ 179 w 324"/>
              <a:gd name="T51" fmla="*/ 912 h 956"/>
              <a:gd name="T52" fmla="*/ 248 w 324"/>
              <a:gd name="T53" fmla="*/ 871 h 956"/>
              <a:gd name="T54" fmla="*/ 248 w 324"/>
              <a:gd name="T55" fmla="*/ 833 h 956"/>
              <a:gd name="T56" fmla="*/ 222 w 324"/>
              <a:gd name="T57" fmla="*/ 833 h 956"/>
              <a:gd name="T58" fmla="*/ 222 w 324"/>
              <a:gd name="T59" fmla="*/ 787 h 956"/>
              <a:gd name="T60" fmla="*/ 261 w 324"/>
              <a:gd name="T61" fmla="*/ 787 h 956"/>
              <a:gd name="T62" fmla="*/ 261 w 324"/>
              <a:gd name="T63" fmla="*/ 774 h 956"/>
              <a:gd name="T64" fmla="*/ 289 w 324"/>
              <a:gd name="T65" fmla="*/ 774 h 956"/>
              <a:gd name="T66" fmla="*/ 289 w 324"/>
              <a:gd name="T67" fmla="*/ 755 h 956"/>
              <a:gd name="T68" fmla="*/ 275 w 324"/>
              <a:gd name="T69" fmla="*/ 690 h 956"/>
              <a:gd name="T70" fmla="*/ 281 w 324"/>
              <a:gd name="T71" fmla="*/ 604 h 956"/>
              <a:gd name="T72" fmla="*/ 281 w 324"/>
              <a:gd name="T73" fmla="*/ 604 h 956"/>
              <a:gd name="T74" fmla="*/ 293 w 324"/>
              <a:gd name="T75" fmla="*/ 429 h 956"/>
              <a:gd name="T76" fmla="*/ 303 w 324"/>
              <a:gd name="T77" fmla="*/ 299 h 956"/>
              <a:gd name="T78" fmla="*/ 303 w 324"/>
              <a:gd name="T79" fmla="*/ 299 h 956"/>
              <a:gd name="T80" fmla="*/ 315 w 324"/>
              <a:gd name="T81" fmla="*/ 123 h 956"/>
              <a:gd name="T82" fmla="*/ 324 w 324"/>
              <a:gd name="T83" fmla="*/ 0 h 9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24" h="956">
                <a:moveTo>
                  <a:pt x="324" y="0"/>
                </a:moveTo>
                <a:cubicBezTo>
                  <a:pt x="253" y="0"/>
                  <a:pt x="253" y="0"/>
                  <a:pt x="253" y="0"/>
                </a:cubicBezTo>
                <a:cubicBezTo>
                  <a:pt x="72" y="0"/>
                  <a:pt x="72" y="0"/>
                  <a:pt x="72" y="0"/>
                </a:cubicBezTo>
                <a:cubicBezTo>
                  <a:pt x="0" y="0"/>
                  <a:pt x="0" y="0"/>
                  <a:pt x="0" y="0"/>
                </a:cubicBezTo>
                <a:cubicBezTo>
                  <a:pt x="9" y="123"/>
                  <a:pt x="9" y="123"/>
                  <a:pt x="9" y="123"/>
                </a:cubicBezTo>
                <a:cubicBezTo>
                  <a:pt x="22" y="299"/>
                  <a:pt x="22" y="299"/>
                  <a:pt x="22" y="299"/>
                </a:cubicBezTo>
                <a:cubicBezTo>
                  <a:pt x="22" y="299"/>
                  <a:pt x="22" y="299"/>
                  <a:pt x="22" y="299"/>
                </a:cubicBezTo>
                <a:cubicBezTo>
                  <a:pt x="31" y="429"/>
                  <a:pt x="31" y="429"/>
                  <a:pt x="31" y="429"/>
                </a:cubicBezTo>
                <a:cubicBezTo>
                  <a:pt x="44" y="604"/>
                  <a:pt x="44" y="604"/>
                  <a:pt x="44" y="604"/>
                </a:cubicBezTo>
                <a:cubicBezTo>
                  <a:pt x="44" y="604"/>
                  <a:pt x="44" y="604"/>
                  <a:pt x="44" y="604"/>
                </a:cubicBezTo>
                <a:cubicBezTo>
                  <a:pt x="50" y="690"/>
                  <a:pt x="50" y="690"/>
                  <a:pt x="50" y="690"/>
                </a:cubicBezTo>
                <a:cubicBezTo>
                  <a:pt x="35" y="755"/>
                  <a:pt x="35" y="755"/>
                  <a:pt x="35" y="755"/>
                </a:cubicBezTo>
                <a:cubicBezTo>
                  <a:pt x="35" y="774"/>
                  <a:pt x="35" y="774"/>
                  <a:pt x="35" y="774"/>
                </a:cubicBezTo>
                <a:cubicBezTo>
                  <a:pt x="63" y="774"/>
                  <a:pt x="63" y="774"/>
                  <a:pt x="63" y="774"/>
                </a:cubicBezTo>
                <a:cubicBezTo>
                  <a:pt x="63" y="787"/>
                  <a:pt x="63" y="787"/>
                  <a:pt x="63" y="787"/>
                </a:cubicBezTo>
                <a:cubicBezTo>
                  <a:pt x="102" y="787"/>
                  <a:pt x="102" y="787"/>
                  <a:pt x="102" y="787"/>
                </a:cubicBezTo>
                <a:cubicBezTo>
                  <a:pt x="102" y="833"/>
                  <a:pt x="102" y="833"/>
                  <a:pt x="102" y="833"/>
                </a:cubicBezTo>
                <a:cubicBezTo>
                  <a:pt x="77" y="833"/>
                  <a:pt x="77" y="833"/>
                  <a:pt x="77" y="833"/>
                </a:cubicBezTo>
                <a:cubicBezTo>
                  <a:pt x="77" y="871"/>
                  <a:pt x="77" y="871"/>
                  <a:pt x="77" y="871"/>
                </a:cubicBezTo>
                <a:cubicBezTo>
                  <a:pt x="146" y="912"/>
                  <a:pt x="146" y="912"/>
                  <a:pt x="146" y="912"/>
                </a:cubicBezTo>
                <a:cubicBezTo>
                  <a:pt x="146" y="912"/>
                  <a:pt x="146" y="937"/>
                  <a:pt x="146" y="945"/>
                </a:cubicBezTo>
                <a:cubicBezTo>
                  <a:pt x="146" y="953"/>
                  <a:pt x="149" y="956"/>
                  <a:pt x="153" y="956"/>
                </a:cubicBezTo>
                <a:cubicBezTo>
                  <a:pt x="157" y="956"/>
                  <a:pt x="162" y="956"/>
                  <a:pt x="162" y="956"/>
                </a:cubicBezTo>
                <a:cubicBezTo>
                  <a:pt x="162" y="956"/>
                  <a:pt x="167" y="956"/>
                  <a:pt x="171" y="956"/>
                </a:cubicBezTo>
                <a:cubicBezTo>
                  <a:pt x="175" y="956"/>
                  <a:pt x="179" y="953"/>
                  <a:pt x="179" y="945"/>
                </a:cubicBezTo>
                <a:cubicBezTo>
                  <a:pt x="179" y="937"/>
                  <a:pt x="179" y="912"/>
                  <a:pt x="179" y="912"/>
                </a:cubicBezTo>
                <a:cubicBezTo>
                  <a:pt x="248" y="871"/>
                  <a:pt x="248" y="871"/>
                  <a:pt x="248" y="871"/>
                </a:cubicBezTo>
                <a:cubicBezTo>
                  <a:pt x="248" y="833"/>
                  <a:pt x="248" y="833"/>
                  <a:pt x="248" y="833"/>
                </a:cubicBezTo>
                <a:cubicBezTo>
                  <a:pt x="222" y="833"/>
                  <a:pt x="222" y="833"/>
                  <a:pt x="222" y="833"/>
                </a:cubicBezTo>
                <a:cubicBezTo>
                  <a:pt x="222" y="787"/>
                  <a:pt x="222" y="787"/>
                  <a:pt x="222" y="787"/>
                </a:cubicBezTo>
                <a:cubicBezTo>
                  <a:pt x="261" y="787"/>
                  <a:pt x="261" y="787"/>
                  <a:pt x="261" y="787"/>
                </a:cubicBezTo>
                <a:cubicBezTo>
                  <a:pt x="261" y="774"/>
                  <a:pt x="261" y="774"/>
                  <a:pt x="261" y="774"/>
                </a:cubicBezTo>
                <a:cubicBezTo>
                  <a:pt x="289" y="774"/>
                  <a:pt x="289" y="774"/>
                  <a:pt x="289" y="774"/>
                </a:cubicBezTo>
                <a:cubicBezTo>
                  <a:pt x="289" y="755"/>
                  <a:pt x="289" y="755"/>
                  <a:pt x="289" y="755"/>
                </a:cubicBezTo>
                <a:cubicBezTo>
                  <a:pt x="275" y="690"/>
                  <a:pt x="275" y="690"/>
                  <a:pt x="275" y="690"/>
                </a:cubicBezTo>
                <a:cubicBezTo>
                  <a:pt x="281" y="604"/>
                  <a:pt x="281" y="604"/>
                  <a:pt x="281" y="604"/>
                </a:cubicBezTo>
                <a:cubicBezTo>
                  <a:pt x="281" y="604"/>
                  <a:pt x="281" y="604"/>
                  <a:pt x="281" y="604"/>
                </a:cubicBezTo>
                <a:cubicBezTo>
                  <a:pt x="293" y="429"/>
                  <a:pt x="293" y="429"/>
                  <a:pt x="293" y="429"/>
                </a:cubicBezTo>
                <a:cubicBezTo>
                  <a:pt x="303" y="299"/>
                  <a:pt x="303" y="299"/>
                  <a:pt x="303" y="299"/>
                </a:cubicBezTo>
                <a:cubicBezTo>
                  <a:pt x="303" y="299"/>
                  <a:pt x="303" y="299"/>
                  <a:pt x="303" y="299"/>
                </a:cubicBezTo>
                <a:cubicBezTo>
                  <a:pt x="315" y="123"/>
                  <a:pt x="315" y="123"/>
                  <a:pt x="315" y="123"/>
                </a:cubicBezTo>
                <a:lnTo>
                  <a:pt x="324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10000"/>
                </a:srgbClr>
              </a:gs>
              <a:gs pos="43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Freeform 54"/>
          <p:cNvSpPr>
            <a:spLocks/>
          </p:cNvSpPr>
          <p:nvPr/>
        </p:nvSpPr>
        <p:spPr bwMode="auto">
          <a:xfrm>
            <a:off x="5450052" y="5646042"/>
            <a:ext cx="5177892" cy="1778429"/>
          </a:xfrm>
          <a:custGeom>
            <a:avLst/>
            <a:gdLst>
              <a:gd name="T0" fmla="*/ 3213 w 3849"/>
              <a:gd name="T1" fmla="*/ 636 h 1322"/>
              <a:gd name="T2" fmla="*/ 2889 w 3849"/>
              <a:gd name="T3" fmla="*/ 317 h 1322"/>
              <a:gd name="T4" fmla="*/ 1884 w 3849"/>
              <a:gd name="T5" fmla="*/ 1322 h 1322"/>
              <a:gd name="T6" fmla="*/ 863 w 3849"/>
              <a:gd name="T7" fmla="*/ 312 h 1322"/>
              <a:gd name="T8" fmla="*/ 594 w 3849"/>
              <a:gd name="T9" fmla="*/ 584 h 1322"/>
              <a:gd name="T10" fmla="*/ 0 w 3849"/>
              <a:gd name="T11" fmla="*/ 0 h 1322"/>
              <a:gd name="T12" fmla="*/ 549 w 3849"/>
              <a:gd name="T13" fmla="*/ 0 h 1322"/>
              <a:gd name="T14" fmla="*/ 1175 w 3849"/>
              <a:gd name="T15" fmla="*/ 0 h 1322"/>
              <a:gd name="T16" fmla="*/ 2570 w 3849"/>
              <a:gd name="T17" fmla="*/ 0 h 1322"/>
              <a:gd name="T18" fmla="*/ 3206 w 3849"/>
              <a:gd name="T19" fmla="*/ 0 h 1322"/>
              <a:gd name="T20" fmla="*/ 3849 w 3849"/>
              <a:gd name="T21" fmla="*/ 0 h 1322"/>
              <a:gd name="T22" fmla="*/ 3213 w 3849"/>
              <a:gd name="T23" fmla="*/ 636 h 13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849" h="1322">
                <a:moveTo>
                  <a:pt x="3213" y="636"/>
                </a:moveTo>
                <a:lnTo>
                  <a:pt x="2889" y="317"/>
                </a:lnTo>
                <a:lnTo>
                  <a:pt x="1884" y="1322"/>
                </a:lnTo>
                <a:lnTo>
                  <a:pt x="863" y="312"/>
                </a:lnTo>
                <a:lnTo>
                  <a:pt x="594" y="584"/>
                </a:lnTo>
                <a:lnTo>
                  <a:pt x="0" y="0"/>
                </a:lnTo>
                <a:lnTo>
                  <a:pt x="549" y="0"/>
                </a:lnTo>
                <a:lnTo>
                  <a:pt x="1175" y="0"/>
                </a:lnTo>
                <a:lnTo>
                  <a:pt x="2570" y="0"/>
                </a:lnTo>
                <a:lnTo>
                  <a:pt x="3206" y="0"/>
                </a:lnTo>
                <a:lnTo>
                  <a:pt x="3849" y="0"/>
                </a:lnTo>
                <a:lnTo>
                  <a:pt x="3213" y="636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4000"/>
                </a:srgbClr>
              </a:gs>
              <a:gs pos="50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Freeform 55"/>
          <p:cNvSpPr>
            <a:spLocks/>
          </p:cNvSpPr>
          <p:nvPr/>
        </p:nvSpPr>
        <p:spPr bwMode="auto">
          <a:xfrm>
            <a:off x="11295191" y="5646042"/>
            <a:ext cx="1536283" cy="764106"/>
          </a:xfrm>
          <a:custGeom>
            <a:avLst/>
            <a:gdLst>
              <a:gd name="T0" fmla="*/ 0 w 1142"/>
              <a:gd name="T1" fmla="*/ 0 h 568"/>
              <a:gd name="T2" fmla="*/ 1142 w 1142"/>
              <a:gd name="T3" fmla="*/ 0 h 568"/>
              <a:gd name="T4" fmla="*/ 575 w 1142"/>
              <a:gd name="T5" fmla="*/ 568 h 568"/>
              <a:gd name="T6" fmla="*/ 0 w 1142"/>
              <a:gd name="T7" fmla="*/ 0 h 5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142" h="568">
                <a:moveTo>
                  <a:pt x="0" y="0"/>
                </a:moveTo>
                <a:lnTo>
                  <a:pt x="1142" y="0"/>
                </a:lnTo>
                <a:lnTo>
                  <a:pt x="575" y="56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4000"/>
                </a:srgbClr>
              </a:gs>
              <a:gs pos="28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Freeform 56"/>
          <p:cNvSpPr>
            <a:spLocks/>
          </p:cNvSpPr>
          <p:nvPr/>
        </p:nvSpPr>
        <p:spPr bwMode="auto">
          <a:xfrm>
            <a:off x="3265355" y="5646042"/>
            <a:ext cx="839440" cy="417029"/>
          </a:xfrm>
          <a:custGeom>
            <a:avLst/>
            <a:gdLst>
              <a:gd name="T0" fmla="*/ 0 w 624"/>
              <a:gd name="T1" fmla="*/ 0 h 310"/>
              <a:gd name="T2" fmla="*/ 624 w 624"/>
              <a:gd name="T3" fmla="*/ 0 h 310"/>
              <a:gd name="T4" fmla="*/ 315 w 624"/>
              <a:gd name="T5" fmla="*/ 310 h 310"/>
              <a:gd name="T6" fmla="*/ 0 w 624"/>
              <a:gd name="T7" fmla="*/ 0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24" h="310">
                <a:moveTo>
                  <a:pt x="0" y="0"/>
                </a:moveTo>
                <a:lnTo>
                  <a:pt x="624" y="0"/>
                </a:lnTo>
                <a:lnTo>
                  <a:pt x="315" y="31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91" name="Group 90"/>
          <p:cNvGrpSpPr/>
          <p:nvPr/>
        </p:nvGrpSpPr>
        <p:grpSpPr>
          <a:xfrm>
            <a:off x="814298" y="3025483"/>
            <a:ext cx="11103746" cy="1914300"/>
            <a:chOff x="814298" y="3025483"/>
            <a:chExt cx="11103746" cy="1914300"/>
          </a:xfrm>
        </p:grpSpPr>
        <p:sp>
          <p:nvSpPr>
            <p:cNvPr id="60" name="Oval 58"/>
            <p:cNvSpPr>
              <a:spLocks noChangeArrowheads="1"/>
            </p:cNvSpPr>
            <p:nvPr/>
          </p:nvSpPr>
          <p:spPr bwMode="auto">
            <a:xfrm>
              <a:off x="3386428" y="4608849"/>
              <a:ext cx="72644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Oval 59"/>
            <p:cNvSpPr>
              <a:spLocks noChangeArrowheads="1"/>
            </p:cNvSpPr>
            <p:nvPr/>
          </p:nvSpPr>
          <p:spPr bwMode="auto">
            <a:xfrm>
              <a:off x="5030332" y="4828126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Oval 60"/>
            <p:cNvSpPr>
              <a:spLocks noChangeArrowheads="1"/>
            </p:cNvSpPr>
            <p:nvPr/>
          </p:nvSpPr>
          <p:spPr bwMode="auto">
            <a:xfrm>
              <a:off x="5415075" y="3921423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Oval 61"/>
            <p:cNvSpPr>
              <a:spLocks noChangeArrowheads="1"/>
            </p:cNvSpPr>
            <p:nvPr/>
          </p:nvSpPr>
          <p:spPr bwMode="auto">
            <a:xfrm>
              <a:off x="814298" y="4182814"/>
              <a:ext cx="72644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Oval 62"/>
            <p:cNvSpPr>
              <a:spLocks noChangeArrowheads="1"/>
            </p:cNvSpPr>
            <p:nvPr/>
          </p:nvSpPr>
          <p:spPr bwMode="auto">
            <a:xfrm>
              <a:off x="1949695" y="4214689"/>
              <a:ext cx="7533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Oval 63"/>
            <p:cNvSpPr>
              <a:spLocks noChangeArrowheads="1"/>
            </p:cNvSpPr>
            <p:nvPr/>
          </p:nvSpPr>
          <p:spPr bwMode="auto">
            <a:xfrm>
              <a:off x="3917805" y="4007520"/>
              <a:ext cx="76680" cy="73989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Oval 64"/>
            <p:cNvSpPr>
              <a:spLocks noChangeArrowheads="1"/>
            </p:cNvSpPr>
            <p:nvPr/>
          </p:nvSpPr>
          <p:spPr bwMode="auto">
            <a:xfrm>
              <a:off x="4544694" y="3260902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Oval 65"/>
            <p:cNvSpPr>
              <a:spLocks noChangeArrowheads="1"/>
            </p:cNvSpPr>
            <p:nvPr/>
          </p:nvSpPr>
          <p:spPr bwMode="auto">
            <a:xfrm>
              <a:off x="6254515" y="3396773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Oval 66"/>
            <p:cNvSpPr>
              <a:spLocks noChangeArrowheads="1"/>
            </p:cNvSpPr>
            <p:nvPr/>
          </p:nvSpPr>
          <p:spPr bwMode="auto">
            <a:xfrm>
              <a:off x="1739835" y="3260902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Oval 67"/>
            <p:cNvSpPr>
              <a:spLocks noChangeArrowheads="1"/>
            </p:cNvSpPr>
            <p:nvPr/>
          </p:nvSpPr>
          <p:spPr bwMode="auto">
            <a:xfrm>
              <a:off x="1189625" y="4272535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Oval 68"/>
            <p:cNvSpPr>
              <a:spLocks noChangeArrowheads="1"/>
            </p:cNvSpPr>
            <p:nvPr/>
          </p:nvSpPr>
          <p:spPr bwMode="auto">
            <a:xfrm>
              <a:off x="6664818" y="3816493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Oval 69"/>
            <p:cNvSpPr>
              <a:spLocks noChangeArrowheads="1"/>
            </p:cNvSpPr>
            <p:nvPr/>
          </p:nvSpPr>
          <p:spPr bwMode="auto">
            <a:xfrm>
              <a:off x="11845400" y="4214689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70"/>
            <p:cNvSpPr>
              <a:spLocks noChangeArrowheads="1"/>
            </p:cNvSpPr>
            <p:nvPr/>
          </p:nvSpPr>
          <p:spPr bwMode="auto">
            <a:xfrm>
              <a:off x="10592967" y="3603943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71"/>
            <p:cNvSpPr>
              <a:spLocks noChangeArrowheads="1"/>
            </p:cNvSpPr>
            <p:nvPr/>
          </p:nvSpPr>
          <p:spPr bwMode="auto">
            <a:xfrm>
              <a:off x="4197618" y="4867139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72"/>
            <p:cNvSpPr>
              <a:spLocks noChangeArrowheads="1"/>
            </p:cNvSpPr>
            <p:nvPr/>
          </p:nvSpPr>
          <p:spPr bwMode="auto">
            <a:xfrm>
              <a:off x="5596685" y="4643826"/>
              <a:ext cx="76680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73"/>
            <p:cNvSpPr>
              <a:spLocks noChangeArrowheads="1"/>
            </p:cNvSpPr>
            <p:nvPr/>
          </p:nvSpPr>
          <p:spPr bwMode="auto">
            <a:xfrm>
              <a:off x="2413808" y="3025483"/>
              <a:ext cx="7264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74"/>
            <p:cNvSpPr>
              <a:spLocks noChangeArrowheads="1"/>
            </p:cNvSpPr>
            <p:nvPr/>
          </p:nvSpPr>
          <p:spPr bwMode="auto">
            <a:xfrm>
              <a:off x="2887338" y="3531299"/>
              <a:ext cx="7264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75"/>
            <p:cNvSpPr>
              <a:spLocks noChangeArrowheads="1"/>
            </p:cNvSpPr>
            <p:nvPr/>
          </p:nvSpPr>
          <p:spPr bwMode="auto">
            <a:xfrm>
              <a:off x="4025425" y="4214689"/>
              <a:ext cx="76680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76"/>
            <p:cNvSpPr>
              <a:spLocks noChangeArrowheads="1"/>
            </p:cNvSpPr>
            <p:nvPr/>
          </p:nvSpPr>
          <p:spPr bwMode="auto">
            <a:xfrm>
              <a:off x="11549444" y="3846089"/>
              <a:ext cx="73989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Oval 77"/>
            <p:cNvSpPr>
              <a:spLocks noChangeArrowheads="1"/>
            </p:cNvSpPr>
            <p:nvPr/>
          </p:nvSpPr>
          <p:spPr bwMode="auto">
            <a:xfrm>
              <a:off x="6738807" y="4421859"/>
              <a:ext cx="7533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Oval 78"/>
            <p:cNvSpPr>
              <a:spLocks noChangeArrowheads="1"/>
            </p:cNvSpPr>
            <p:nvPr/>
          </p:nvSpPr>
          <p:spPr bwMode="auto">
            <a:xfrm>
              <a:off x="10812244" y="4119176"/>
              <a:ext cx="76680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Oval 79"/>
            <p:cNvSpPr>
              <a:spLocks noChangeArrowheads="1"/>
            </p:cNvSpPr>
            <p:nvPr/>
          </p:nvSpPr>
          <p:spPr bwMode="auto">
            <a:xfrm>
              <a:off x="6970191" y="3883756"/>
              <a:ext cx="73989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3" name="Group 82"/>
          <p:cNvGrpSpPr>
            <a:grpSpLocks noChangeAspect="1"/>
          </p:cNvGrpSpPr>
          <p:nvPr/>
        </p:nvGrpSpPr>
        <p:grpSpPr bwMode="auto">
          <a:xfrm>
            <a:off x="-586705" y="-37811"/>
            <a:ext cx="439738" cy="2871788"/>
            <a:chOff x="-1745" y="-199"/>
            <a:chExt cx="277" cy="1809"/>
          </a:xfrm>
        </p:grpSpPr>
        <p:sp>
          <p:nvSpPr>
            <p:cNvPr id="85" name="Oval 83"/>
            <p:cNvSpPr>
              <a:spLocks noChangeArrowheads="1"/>
            </p:cNvSpPr>
            <p:nvPr/>
          </p:nvSpPr>
          <p:spPr bwMode="auto">
            <a:xfrm>
              <a:off x="-1745" y="-199"/>
              <a:ext cx="277" cy="268"/>
            </a:xfrm>
            <a:prstGeom prst="ellipse">
              <a:avLst/>
            </a:prstGeom>
            <a:solidFill>
              <a:srgbClr val="070C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Oval 84"/>
            <p:cNvSpPr>
              <a:spLocks noChangeArrowheads="1"/>
            </p:cNvSpPr>
            <p:nvPr/>
          </p:nvSpPr>
          <p:spPr bwMode="auto">
            <a:xfrm>
              <a:off x="-1745" y="109"/>
              <a:ext cx="277" cy="268"/>
            </a:xfrm>
            <a:prstGeom prst="ellipse">
              <a:avLst/>
            </a:prstGeom>
            <a:solidFill>
              <a:srgbClr val="1221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Oval 85"/>
            <p:cNvSpPr>
              <a:spLocks noChangeArrowheads="1"/>
            </p:cNvSpPr>
            <p:nvPr/>
          </p:nvSpPr>
          <p:spPr bwMode="auto">
            <a:xfrm>
              <a:off x="-1745" y="417"/>
              <a:ext cx="277" cy="268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Oval 86"/>
            <p:cNvSpPr>
              <a:spLocks noChangeArrowheads="1"/>
            </p:cNvSpPr>
            <p:nvPr/>
          </p:nvSpPr>
          <p:spPr bwMode="auto">
            <a:xfrm>
              <a:off x="-1745" y="725"/>
              <a:ext cx="277" cy="268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Oval 87"/>
            <p:cNvSpPr>
              <a:spLocks noChangeArrowheads="1"/>
            </p:cNvSpPr>
            <p:nvPr/>
          </p:nvSpPr>
          <p:spPr bwMode="auto">
            <a:xfrm>
              <a:off x="-1745" y="1034"/>
              <a:ext cx="277" cy="268"/>
            </a:xfrm>
            <a:prstGeom prst="ellipse">
              <a:avLst/>
            </a:prstGeom>
            <a:solidFill>
              <a:srgbClr val="F644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Oval 88"/>
            <p:cNvSpPr>
              <a:spLocks noChangeArrowheads="1"/>
            </p:cNvSpPr>
            <p:nvPr/>
          </p:nvSpPr>
          <p:spPr bwMode="auto">
            <a:xfrm>
              <a:off x="-1745" y="1342"/>
              <a:ext cx="277" cy="268"/>
            </a:xfrm>
            <a:prstGeom prst="ellipse">
              <a:avLst/>
            </a:prstGeom>
            <a:solidFill>
              <a:srgbClr val="1938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9" name="Freeform 17"/>
          <p:cNvSpPr>
            <a:spLocks/>
          </p:cNvSpPr>
          <p:nvPr/>
        </p:nvSpPr>
        <p:spPr bwMode="auto">
          <a:xfrm>
            <a:off x="5193108" y="4793149"/>
            <a:ext cx="1716547" cy="852893"/>
          </a:xfrm>
          <a:custGeom>
            <a:avLst/>
            <a:gdLst>
              <a:gd name="T0" fmla="*/ 0 w 1276"/>
              <a:gd name="T1" fmla="*/ 634 h 634"/>
              <a:gd name="T2" fmla="*/ 1276 w 1276"/>
              <a:gd name="T3" fmla="*/ 634 h 634"/>
              <a:gd name="T4" fmla="*/ 640 w 1276"/>
              <a:gd name="T5" fmla="*/ 0 h 634"/>
              <a:gd name="T6" fmla="*/ 0 w 1276"/>
              <a:gd name="T7" fmla="*/ 634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76" h="634">
                <a:moveTo>
                  <a:pt x="0" y="634"/>
                </a:moveTo>
                <a:lnTo>
                  <a:pt x="1276" y="634"/>
                </a:lnTo>
                <a:lnTo>
                  <a:pt x="640" y="0"/>
                </a:lnTo>
                <a:lnTo>
                  <a:pt x="0" y="634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" name="TextBox 92"/>
          <p:cNvSpPr txBox="1"/>
          <p:nvPr/>
        </p:nvSpPr>
        <p:spPr>
          <a:xfrm>
            <a:off x="725328" y="1370598"/>
            <a:ext cx="7168886" cy="76944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cy-GB" sz="44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Reading_Novel_Application</a:t>
            </a:r>
            <a:endParaRPr lang="en-US" sz="44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96" name="Freeform 14"/>
          <p:cNvSpPr>
            <a:spLocks/>
          </p:cNvSpPr>
          <p:nvPr/>
        </p:nvSpPr>
        <p:spPr bwMode="auto">
          <a:xfrm flipV="1">
            <a:off x="2194532" y="5646041"/>
            <a:ext cx="451444" cy="224534"/>
          </a:xfrm>
          <a:custGeom>
            <a:avLst/>
            <a:gdLst>
              <a:gd name="T0" fmla="*/ 0 w 380"/>
              <a:gd name="T1" fmla="*/ 189 h 189"/>
              <a:gd name="T2" fmla="*/ 380 w 380"/>
              <a:gd name="T3" fmla="*/ 189 h 189"/>
              <a:gd name="T4" fmla="*/ 191 w 380"/>
              <a:gd name="T5" fmla="*/ 0 h 189"/>
              <a:gd name="T6" fmla="*/ 0 w 380"/>
              <a:gd name="T7" fmla="*/ 189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0" h="189">
                <a:moveTo>
                  <a:pt x="0" y="189"/>
                </a:moveTo>
                <a:lnTo>
                  <a:pt x="380" y="189"/>
                </a:lnTo>
                <a:lnTo>
                  <a:pt x="191" y="0"/>
                </a:lnTo>
                <a:lnTo>
                  <a:pt x="0" y="189"/>
                </a:lnTo>
                <a:close/>
              </a:path>
            </a:pathLst>
          </a:custGeom>
          <a:gradFill>
            <a:gsLst>
              <a:gs pos="100000">
                <a:srgbClr val="122141"/>
              </a:gs>
              <a:gs pos="0">
                <a:srgbClr val="070C1E">
                  <a:alpha val="0"/>
                </a:srgbClr>
              </a:gs>
            </a:gsLst>
            <a:lin ang="162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Freeform 15"/>
          <p:cNvSpPr>
            <a:spLocks/>
          </p:cNvSpPr>
          <p:nvPr/>
        </p:nvSpPr>
        <p:spPr bwMode="auto">
          <a:xfrm flipV="1">
            <a:off x="2057315" y="5646040"/>
            <a:ext cx="282504" cy="140113"/>
          </a:xfrm>
          <a:custGeom>
            <a:avLst/>
            <a:gdLst>
              <a:gd name="T0" fmla="*/ 0 w 248"/>
              <a:gd name="T1" fmla="*/ 123 h 123"/>
              <a:gd name="T2" fmla="*/ 248 w 248"/>
              <a:gd name="T3" fmla="*/ 123 h 123"/>
              <a:gd name="T4" fmla="*/ 125 w 248"/>
              <a:gd name="T5" fmla="*/ 0 h 123"/>
              <a:gd name="T6" fmla="*/ 0 w 248"/>
              <a:gd name="T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8" h="123">
                <a:moveTo>
                  <a:pt x="0" y="123"/>
                </a:moveTo>
                <a:lnTo>
                  <a:pt x="248" y="123"/>
                </a:lnTo>
                <a:lnTo>
                  <a:pt x="125" y="0"/>
                </a:lnTo>
                <a:lnTo>
                  <a:pt x="0" y="123"/>
                </a:lnTo>
                <a:close/>
              </a:path>
            </a:pathLst>
          </a:custGeom>
          <a:gradFill>
            <a:gsLst>
              <a:gs pos="100000">
                <a:srgbClr val="122141"/>
              </a:gs>
              <a:gs pos="0">
                <a:srgbClr val="070C1E">
                  <a:alpha val="0"/>
                </a:srgbClr>
              </a:gs>
            </a:gsLst>
            <a:lin ang="162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" name="Freeform 15"/>
          <p:cNvSpPr>
            <a:spLocks/>
          </p:cNvSpPr>
          <p:nvPr/>
        </p:nvSpPr>
        <p:spPr bwMode="auto">
          <a:xfrm flipV="1">
            <a:off x="282921" y="5646039"/>
            <a:ext cx="345585" cy="171399"/>
          </a:xfrm>
          <a:custGeom>
            <a:avLst/>
            <a:gdLst>
              <a:gd name="T0" fmla="*/ 0 w 248"/>
              <a:gd name="T1" fmla="*/ 123 h 123"/>
              <a:gd name="T2" fmla="*/ 248 w 248"/>
              <a:gd name="T3" fmla="*/ 123 h 123"/>
              <a:gd name="T4" fmla="*/ 125 w 248"/>
              <a:gd name="T5" fmla="*/ 0 h 123"/>
              <a:gd name="T6" fmla="*/ 0 w 248"/>
              <a:gd name="T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8" h="123">
                <a:moveTo>
                  <a:pt x="0" y="123"/>
                </a:moveTo>
                <a:lnTo>
                  <a:pt x="248" y="123"/>
                </a:lnTo>
                <a:lnTo>
                  <a:pt x="125" y="0"/>
                </a:lnTo>
                <a:lnTo>
                  <a:pt x="0" y="123"/>
                </a:lnTo>
                <a:close/>
              </a:path>
            </a:pathLst>
          </a:custGeom>
          <a:gradFill>
            <a:gsLst>
              <a:gs pos="100000">
                <a:srgbClr val="122141"/>
              </a:gs>
              <a:gs pos="0">
                <a:srgbClr val="070C1E">
                  <a:alpha val="0"/>
                </a:srgbClr>
              </a:gs>
            </a:gsLst>
            <a:lin ang="162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" name="TextBox 98"/>
          <p:cNvSpPr txBox="1"/>
          <p:nvPr/>
        </p:nvSpPr>
        <p:spPr>
          <a:xfrm>
            <a:off x="769810" y="2442331"/>
            <a:ext cx="3369962" cy="95410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cy-GB" sz="2800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Arya Fajar Siswanto</a:t>
            </a:r>
          </a:p>
          <a:p>
            <a:r>
              <a:rPr lang="en-GB" sz="2800" b="0" i="0" dirty="0">
                <a:solidFill>
                  <a:schemeClr val="bg1"/>
                </a:solidFill>
                <a:effectLst/>
                <a:latin typeface="-apple-system"/>
              </a:rPr>
              <a:t>1_005FLB_44</a:t>
            </a:r>
            <a:endParaRPr lang="en-US" sz="28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cxnSp>
        <p:nvCxnSpPr>
          <p:cNvPr id="101" name="Straight Connector 100"/>
          <p:cNvCxnSpPr/>
          <p:nvPr/>
        </p:nvCxnSpPr>
        <p:spPr>
          <a:xfrm>
            <a:off x="837920" y="2897477"/>
            <a:ext cx="305373" cy="0"/>
          </a:xfrm>
          <a:prstGeom prst="line">
            <a:avLst/>
          </a:prstGeom>
          <a:ln w="19050">
            <a:solidFill>
              <a:srgbClr val="B0F7F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68033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48"/>
          <p:cNvSpPr>
            <a:spLocks noChangeArrowheads="1"/>
          </p:cNvSpPr>
          <p:nvPr/>
        </p:nvSpPr>
        <p:spPr bwMode="auto">
          <a:xfrm>
            <a:off x="0" y="3543300"/>
            <a:ext cx="12188890" cy="3313185"/>
          </a:xfrm>
          <a:prstGeom prst="rect">
            <a:avLst/>
          </a:prstGeom>
          <a:gradFill flip="none" rotWithShape="1">
            <a:gsLst>
              <a:gs pos="100000">
                <a:srgbClr val="070C1E"/>
              </a:gs>
              <a:gs pos="0">
                <a:srgbClr val="122141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auto">
          <a:xfrm>
            <a:off x="0" y="0"/>
            <a:ext cx="12188891" cy="3543300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" name="Freeform 6"/>
          <p:cNvSpPr>
            <a:spLocks/>
          </p:cNvSpPr>
          <p:nvPr/>
        </p:nvSpPr>
        <p:spPr bwMode="auto">
          <a:xfrm>
            <a:off x="66308" y="2580096"/>
            <a:ext cx="1939860" cy="963204"/>
          </a:xfrm>
          <a:custGeom>
            <a:avLst/>
            <a:gdLst>
              <a:gd name="T0" fmla="*/ 0 w 1442"/>
              <a:gd name="T1" fmla="*/ 716 h 716"/>
              <a:gd name="T2" fmla="*/ 1442 w 1442"/>
              <a:gd name="T3" fmla="*/ 716 h 716"/>
              <a:gd name="T4" fmla="*/ 725 w 1442"/>
              <a:gd name="T5" fmla="*/ 0 h 716"/>
              <a:gd name="T6" fmla="*/ 0 w 1442"/>
              <a:gd name="T7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2" h="716">
                <a:moveTo>
                  <a:pt x="0" y="716"/>
                </a:moveTo>
                <a:lnTo>
                  <a:pt x="1442" y="716"/>
                </a:lnTo>
                <a:lnTo>
                  <a:pt x="725" y="0"/>
                </a:lnTo>
                <a:lnTo>
                  <a:pt x="0" y="716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Freeform 7"/>
          <p:cNvSpPr>
            <a:spLocks/>
          </p:cNvSpPr>
          <p:nvPr/>
        </p:nvSpPr>
        <p:spPr bwMode="auto">
          <a:xfrm>
            <a:off x="-1395530" y="2332624"/>
            <a:ext cx="2435569" cy="1210676"/>
          </a:xfrm>
          <a:custGeom>
            <a:avLst/>
            <a:gdLst>
              <a:gd name="T0" fmla="*/ 0 w 2227"/>
              <a:gd name="T1" fmla="*/ 1107 h 1107"/>
              <a:gd name="T2" fmla="*/ 2227 w 2227"/>
              <a:gd name="T3" fmla="*/ 1107 h 1107"/>
              <a:gd name="T4" fmla="*/ 1121 w 2227"/>
              <a:gd name="T5" fmla="*/ 0 h 1107"/>
              <a:gd name="T6" fmla="*/ 0 w 2227"/>
              <a:gd name="T7" fmla="*/ 1107 h 1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27" h="1107">
                <a:moveTo>
                  <a:pt x="0" y="1107"/>
                </a:moveTo>
                <a:lnTo>
                  <a:pt x="2227" y="1107"/>
                </a:lnTo>
                <a:lnTo>
                  <a:pt x="1121" y="0"/>
                </a:lnTo>
                <a:lnTo>
                  <a:pt x="0" y="1107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Freeform 8"/>
          <p:cNvSpPr>
            <a:spLocks/>
          </p:cNvSpPr>
          <p:nvPr/>
        </p:nvSpPr>
        <p:spPr bwMode="auto">
          <a:xfrm>
            <a:off x="4276988" y="2960804"/>
            <a:ext cx="1173064" cy="582496"/>
          </a:xfrm>
          <a:custGeom>
            <a:avLst/>
            <a:gdLst>
              <a:gd name="T0" fmla="*/ 0 w 872"/>
              <a:gd name="T1" fmla="*/ 433 h 433"/>
              <a:gd name="T2" fmla="*/ 872 w 872"/>
              <a:gd name="T3" fmla="*/ 433 h 433"/>
              <a:gd name="T4" fmla="*/ 440 w 872"/>
              <a:gd name="T5" fmla="*/ 0 h 433"/>
              <a:gd name="T6" fmla="*/ 0 w 872"/>
              <a:gd name="T7" fmla="*/ 433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2" h="433">
                <a:moveTo>
                  <a:pt x="0" y="433"/>
                </a:moveTo>
                <a:lnTo>
                  <a:pt x="872" y="433"/>
                </a:lnTo>
                <a:lnTo>
                  <a:pt x="440" y="0"/>
                </a:lnTo>
                <a:lnTo>
                  <a:pt x="0" y="433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9"/>
          <p:cNvSpPr>
            <a:spLocks/>
          </p:cNvSpPr>
          <p:nvPr/>
        </p:nvSpPr>
        <p:spPr bwMode="auto">
          <a:xfrm>
            <a:off x="11425749" y="3006050"/>
            <a:ext cx="1081517" cy="537249"/>
          </a:xfrm>
          <a:custGeom>
            <a:avLst/>
            <a:gdLst>
              <a:gd name="T0" fmla="*/ 0 w 1695"/>
              <a:gd name="T1" fmla="*/ 842 h 842"/>
              <a:gd name="T2" fmla="*/ 1695 w 1695"/>
              <a:gd name="T3" fmla="*/ 842 h 842"/>
              <a:gd name="T4" fmla="*/ 853 w 1695"/>
              <a:gd name="T5" fmla="*/ 0 h 842"/>
              <a:gd name="T6" fmla="*/ 0 w 1695"/>
              <a:gd name="T7" fmla="*/ 842 h 8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95" h="842">
                <a:moveTo>
                  <a:pt x="0" y="842"/>
                </a:moveTo>
                <a:lnTo>
                  <a:pt x="1695" y="842"/>
                </a:lnTo>
                <a:lnTo>
                  <a:pt x="853" y="0"/>
                </a:lnTo>
                <a:lnTo>
                  <a:pt x="0" y="842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Freeform 12"/>
          <p:cNvSpPr>
            <a:spLocks/>
          </p:cNvSpPr>
          <p:nvPr/>
        </p:nvSpPr>
        <p:spPr bwMode="auto">
          <a:xfrm>
            <a:off x="9918700" y="2633737"/>
            <a:ext cx="1831188" cy="909563"/>
          </a:xfrm>
          <a:custGeom>
            <a:avLst/>
            <a:gdLst>
              <a:gd name="T0" fmla="*/ 0 w 2581"/>
              <a:gd name="T1" fmla="*/ 1282 h 1282"/>
              <a:gd name="T2" fmla="*/ 2581 w 2581"/>
              <a:gd name="T3" fmla="*/ 1282 h 1282"/>
              <a:gd name="T4" fmla="*/ 1298 w 2581"/>
              <a:gd name="T5" fmla="*/ 0 h 1282"/>
              <a:gd name="T6" fmla="*/ 0 w 2581"/>
              <a:gd name="T7" fmla="*/ 1282 h 1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581" h="1282">
                <a:moveTo>
                  <a:pt x="0" y="1282"/>
                </a:moveTo>
                <a:lnTo>
                  <a:pt x="2581" y="1282"/>
                </a:lnTo>
                <a:lnTo>
                  <a:pt x="1298" y="0"/>
                </a:lnTo>
                <a:lnTo>
                  <a:pt x="0" y="1282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3" name="Group 22"/>
          <p:cNvGrpSpPr/>
          <p:nvPr/>
        </p:nvGrpSpPr>
        <p:grpSpPr>
          <a:xfrm>
            <a:off x="814298" y="1007536"/>
            <a:ext cx="10809135" cy="1657355"/>
            <a:chOff x="814298" y="3025483"/>
            <a:chExt cx="10809135" cy="1657355"/>
          </a:xfrm>
        </p:grpSpPr>
        <p:sp>
          <p:nvSpPr>
            <p:cNvPr id="24" name="Oval 58"/>
            <p:cNvSpPr>
              <a:spLocks noChangeArrowheads="1"/>
            </p:cNvSpPr>
            <p:nvPr/>
          </p:nvSpPr>
          <p:spPr bwMode="auto">
            <a:xfrm>
              <a:off x="2519653" y="4608849"/>
              <a:ext cx="72644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59"/>
            <p:cNvSpPr>
              <a:spLocks noChangeArrowheads="1"/>
            </p:cNvSpPr>
            <p:nvPr/>
          </p:nvSpPr>
          <p:spPr bwMode="auto">
            <a:xfrm>
              <a:off x="7987192" y="3262536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Oval 60"/>
            <p:cNvSpPr>
              <a:spLocks noChangeArrowheads="1"/>
            </p:cNvSpPr>
            <p:nvPr/>
          </p:nvSpPr>
          <p:spPr bwMode="auto">
            <a:xfrm>
              <a:off x="5415075" y="3921423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Oval 61"/>
            <p:cNvSpPr>
              <a:spLocks noChangeArrowheads="1"/>
            </p:cNvSpPr>
            <p:nvPr/>
          </p:nvSpPr>
          <p:spPr bwMode="auto">
            <a:xfrm>
              <a:off x="814298" y="4182814"/>
              <a:ext cx="72644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Oval 62"/>
            <p:cNvSpPr>
              <a:spLocks noChangeArrowheads="1"/>
            </p:cNvSpPr>
            <p:nvPr/>
          </p:nvSpPr>
          <p:spPr bwMode="auto">
            <a:xfrm>
              <a:off x="1949695" y="4214689"/>
              <a:ext cx="7533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Oval 63"/>
            <p:cNvSpPr>
              <a:spLocks noChangeArrowheads="1"/>
            </p:cNvSpPr>
            <p:nvPr/>
          </p:nvSpPr>
          <p:spPr bwMode="auto">
            <a:xfrm>
              <a:off x="3917805" y="4007520"/>
              <a:ext cx="76680" cy="73989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Oval 64"/>
            <p:cNvSpPr>
              <a:spLocks noChangeArrowheads="1"/>
            </p:cNvSpPr>
            <p:nvPr/>
          </p:nvSpPr>
          <p:spPr bwMode="auto">
            <a:xfrm>
              <a:off x="4544694" y="3260902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Oval 65"/>
            <p:cNvSpPr>
              <a:spLocks noChangeArrowheads="1"/>
            </p:cNvSpPr>
            <p:nvPr/>
          </p:nvSpPr>
          <p:spPr bwMode="auto">
            <a:xfrm>
              <a:off x="6254515" y="3396773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Oval 66"/>
            <p:cNvSpPr>
              <a:spLocks noChangeArrowheads="1"/>
            </p:cNvSpPr>
            <p:nvPr/>
          </p:nvSpPr>
          <p:spPr bwMode="auto">
            <a:xfrm>
              <a:off x="1739835" y="3260902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67"/>
            <p:cNvSpPr>
              <a:spLocks noChangeArrowheads="1"/>
            </p:cNvSpPr>
            <p:nvPr/>
          </p:nvSpPr>
          <p:spPr bwMode="auto">
            <a:xfrm>
              <a:off x="1189625" y="4272535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Oval 68"/>
            <p:cNvSpPr>
              <a:spLocks noChangeArrowheads="1"/>
            </p:cNvSpPr>
            <p:nvPr/>
          </p:nvSpPr>
          <p:spPr bwMode="auto">
            <a:xfrm>
              <a:off x="6664818" y="3816493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Oval 69"/>
            <p:cNvSpPr>
              <a:spLocks noChangeArrowheads="1"/>
            </p:cNvSpPr>
            <p:nvPr/>
          </p:nvSpPr>
          <p:spPr bwMode="auto">
            <a:xfrm>
              <a:off x="11226976" y="4275707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Oval 70"/>
            <p:cNvSpPr>
              <a:spLocks noChangeArrowheads="1"/>
            </p:cNvSpPr>
            <p:nvPr/>
          </p:nvSpPr>
          <p:spPr bwMode="auto">
            <a:xfrm>
              <a:off x="10592967" y="3603943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Oval 71"/>
            <p:cNvSpPr>
              <a:spLocks noChangeArrowheads="1"/>
            </p:cNvSpPr>
            <p:nvPr/>
          </p:nvSpPr>
          <p:spPr bwMode="auto">
            <a:xfrm>
              <a:off x="4509717" y="4424549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Oval 72"/>
            <p:cNvSpPr>
              <a:spLocks noChangeArrowheads="1"/>
            </p:cNvSpPr>
            <p:nvPr/>
          </p:nvSpPr>
          <p:spPr bwMode="auto">
            <a:xfrm>
              <a:off x="7267601" y="4033708"/>
              <a:ext cx="76680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Oval 73"/>
            <p:cNvSpPr>
              <a:spLocks noChangeArrowheads="1"/>
            </p:cNvSpPr>
            <p:nvPr/>
          </p:nvSpPr>
          <p:spPr bwMode="auto">
            <a:xfrm>
              <a:off x="2413808" y="3025483"/>
              <a:ext cx="7264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Oval 74"/>
            <p:cNvSpPr>
              <a:spLocks noChangeArrowheads="1"/>
            </p:cNvSpPr>
            <p:nvPr/>
          </p:nvSpPr>
          <p:spPr bwMode="auto">
            <a:xfrm>
              <a:off x="2887338" y="3531299"/>
              <a:ext cx="7264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Oval 75"/>
            <p:cNvSpPr>
              <a:spLocks noChangeArrowheads="1"/>
            </p:cNvSpPr>
            <p:nvPr/>
          </p:nvSpPr>
          <p:spPr bwMode="auto">
            <a:xfrm>
              <a:off x="4025425" y="4214689"/>
              <a:ext cx="76680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Oval 76"/>
            <p:cNvSpPr>
              <a:spLocks noChangeArrowheads="1"/>
            </p:cNvSpPr>
            <p:nvPr/>
          </p:nvSpPr>
          <p:spPr bwMode="auto">
            <a:xfrm>
              <a:off x="11549444" y="3846089"/>
              <a:ext cx="73989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77"/>
            <p:cNvSpPr>
              <a:spLocks noChangeArrowheads="1"/>
            </p:cNvSpPr>
            <p:nvPr/>
          </p:nvSpPr>
          <p:spPr bwMode="auto">
            <a:xfrm>
              <a:off x="6738807" y="4421859"/>
              <a:ext cx="7533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Oval 78"/>
            <p:cNvSpPr>
              <a:spLocks noChangeArrowheads="1"/>
            </p:cNvSpPr>
            <p:nvPr/>
          </p:nvSpPr>
          <p:spPr bwMode="auto">
            <a:xfrm>
              <a:off x="10421719" y="4214689"/>
              <a:ext cx="76680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Oval 79"/>
            <p:cNvSpPr>
              <a:spLocks noChangeArrowheads="1"/>
            </p:cNvSpPr>
            <p:nvPr/>
          </p:nvSpPr>
          <p:spPr bwMode="auto">
            <a:xfrm>
              <a:off x="7895232" y="3739406"/>
              <a:ext cx="73989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6" name="TextBox 45"/>
          <p:cNvSpPr txBox="1"/>
          <p:nvPr/>
        </p:nvSpPr>
        <p:spPr>
          <a:xfrm>
            <a:off x="826809" y="589490"/>
            <a:ext cx="2351991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4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DIAGRAM</a:t>
            </a:r>
            <a:endParaRPr lang="en-US" sz="40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0" name="Freeform 7"/>
          <p:cNvSpPr>
            <a:spLocks/>
          </p:cNvSpPr>
          <p:nvPr/>
        </p:nvSpPr>
        <p:spPr bwMode="auto">
          <a:xfrm>
            <a:off x="3468005" y="2054101"/>
            <a:ext cx="2995886" cy="1489199"/>
          </a:xfrm>
          <a:custGeom>
            <a:avLst/>
            <a:gdLst>
              <a:gd name="T0" fmla="*/ 0 w 2227"/>
              <a:gd name="T1" fmla="*/ 1107 h 1107"/>
              <a:gd name="T2" fmla="*/ 2227 w 2227"/>
              <a:gd name="T3" fmla="*/ 1107 h 1107"/>
              <a:gd name="T4" fmla="*/ 1121 w 2227"/>
              <a:gd name="T5" fmla="*/ 0 h 1107"/>
              <a:gd name="T6" fmla="*/ 0 w 2227"/>
              <a:gd name="T7" fmla="*/ 1107 h 1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27" h="1107">
                <a:moveTo>
                  <a:pt x="0" y="1107"/>
                </a:moveTo>
                <a:lnTo>
                  <a:pt x="2227" y="1107"/>
                </a:lnTo>
                <a:lnTo>
                  <a:pt x="1121" y="0"/>
                </a:lnTo>
                <a:lnTo>
                  <a:pt x="0" y="1107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46"/>
          <p:cNvSpPr>
            <a:spLocks/>
          </p:cNvSpPr>
          <p:nvPr/>
        </p:nvSpPr>
        <p:spPr bwMode="auto">
          <a:xfrm flipH="1">
            <a:off x="6577497" y="1270000"/>
            <a:ext cx="4575156" cy="2273300"/>
          </a:xfrm>
          <a:custGeom>
            <a:avLst/>
            <a:gdLst>
              <a:gd name="T0" fmla="*/ 0 w 2884"/>
              <a:gd name="T1" fmla="*/ 1433 h 1433"/>
              <a:gd name="T2" fmla="*/ 2884 w 2884"/>
              <a:gd name="T3" fmla="*/ 1433 h 1433"/>
              <a:gd name="T4" fmla="*/ 1452 w 2884"/>
              <a:gd name="T5" fmla="*/ 0 h 1433"/>
              <a:gd name="T6" fmla="*/ 0 w 2884"/>
              <a:gd name="T7" fmla="*/ 1433 h 1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884" h="1433">
                <a:moveTo>
                  <a:pt x="0" y="1433"/>
                </a:moveTo>
                <a:lnTo>
                  <a:pt x="2884" y="1433"/>
                </a:lnTo>
                <a:lnTo>
                  <a:pt x="1452" y="0"/>
                </a:lnTo>
                <a:lnTo>
                  <a:pt x="0" y="1433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46"/>
          <p:cNvSpPr>
            <a:spLocks/>
          </p:cNvSpPr>
          <p:nvPr/>
        </p:nvSpPr>
        <p:spPr bwMode="auto">
          <a:xfrm flipH="1">
            <a:off x="4139475" y="1794103"/>
            <a:ext cx="3520367" cy="1749197"/>
          </a:xfrm>
          <a:custGeom>
            <a:avLst/>
            <a:gdLst>
              <a:gd name="T0" fmla="*/ 0 w 2884"/>
              <a:gd name="T1" fmla="*/ 1433 h 1433"/>
              <a:gd name="T2" fmla="*/ 2884 w 2884"/>
              <a:gd name="T3" fmla="*/ 1433 h 1433"/>
              <a:gd name="T4" fmla="*/ 1452 w 2884"/>
              <a:gd name="T5" fmla="*/ 0 h 1433"/>
              <a:gd name="T6" fmla="*/ 0 w 2884"/>
              <a:gd name="T7" fmla="*/ 1433 h 1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884" h="1433">
                <a:moveTo>
                  <a:pt x="0" y="1433"/>
                </a:moveTo>
                <a:lnTo>
                  <a:pt x="2884" y="1433"/>
                </a:lnTo>
                <a:lnTo>
                  <a:pt x="1452" y="0"/>
                </a:lnTo>
                <a:lnTo>
                  <a:pt x="0" y="1433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Freeform 46"/>
          <p:cNvSpPr>
            <a:spLocks/>
          </p:cNvSpPr>
          <p:nvPr/>
        </p:nvSpPr>
        <p:spPr bwMode="auto">
          <a:xfrm flipH="1">
            <a:off x="2155082" y="2205119"/>
            <a:ext cx="2693171" cy="1338180"/>
          </a:xfrm>
          <a:custGeom>
            <a:avLst/>
            <a:gdLst>
              <a:gd name="T0" fmla="*/ 0 w 2884"/>
              <a:gd name="T1" fmla="*/ 1433 h 1433"/>
              <a:gd name="T2" fmla="*/ 2884 w 2884"/>
              <a:gd name="T3" fmla="*/ 1433 h 1433"/>
              <a:gd name="T4" fmla="*/ 1452 w 2884"/>
              <a:gd name="T5" fmla="*/ 0 h 1433"/>
              <a:gd name="T6" fmla="*/ 0 w 2884"/>
              <a:gd name="T7" fmla="*/ 1433 h 1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884" h="1433">
                <a:moveTo>
                  <a:pt x="0" y="1433"/>
                </a:moveTo>
                <a:lnTo>
                  <a:pt x="2884" y="1433"/>
                </a:lnTo>
                <a:lnTo>
                  <a:pt x="1452" y="0"/>
                </a:lnTo>
                <a:lnTo>
                  <a:pt x="0" y="1433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 46"/>
          <p:cNvSpPr>
            <a:spLocks/>
          </p:cNvSpPr>
          <p:nvPr/>
        </p:nvSpPr>
        <p:spPr bwMode="auto">
          <a:xfrm flipH="1">
            <a:off x="1039347" y="2748524"/>
            <a:ext cx="1599535" cy="794775"/>
          </a:xfrm>
          <a:custGeom>
            <a:avLst/>
            <a:gdLst>
              <a:gd name="T0" fmla="*/ 0 w 2884"/>
              <a:gd name="T1" fmla="*/ 1433 h 1433"/>
              <a:gd name="T2" fmla="*/ 2884 w 2884"/>
              <a:gd name="T3" fmla="*/ 1433 h 1433"/>
              <a:gd name="T4" fmla="*/ 1452 w 2884"/>
              <a:gd name="T5" fmla="*/ 0 h 1433"/>
              <a:gd name="T6" fmla="*/ 0 w 2884"/>
              <a:gd name="T7" fmla="*/ 1433 h 1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884" h="1433">
                <a:moveTo>
                  <a:pt x="0" y="1433"/>
                </a:moveTo>
                <a:lnTo>
                  <a:pt x="2884" y="1433"/>
                </a:lnTo>
                <a:lnTo>
                  <a:pt x="1452" y="0"/>
                </a:lnTo>
                <a:lnTo>
                  <a:pt x="0" y="1433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7" name="Group 46"/>
          <p:cNvGrpSpPr/>
          <p:nvPr/>
        </p:nvGrpSpPr>
        <p:grpSpPr>
          <a:xfrm>
            <a:off x="826809" y="4185815"/>
            <a:ext cx="447181" cy="446928"/>
            <a:chOff x="1295127" y="2643071"/>
            <a:chExt cx="379068" cy="378853"/>
          </a:xfrm>
          <a:solidFill>
            <a:srgbClr val="B0F7F4"/>
          </a:solidFill>
          <a:effectLst/>
        </p:grpSpPr>
        <p:sp>
          <p:nvSpPr>
            <p:cNvPr id="48" name="Freeform 2131"/>
            <p:cNvSpPr>
              <a:spLocks/>
            </p:cNvSpPr>
            <p:nvPr/>
          </p:nvSpPr>
          <p:spPr bwMode="auto">
            <a:xfrm>
              <a:off x="1457837" y="2980090"/>
              <a:ext cx="55781" cy="13946"/>
            </a:xfrm>
            <a:custGeom>
              <a:avLst/>
              <a:gdLst>
                <a:gd name="T0" fmla="*/ 105 w 120"/>
                <a:gd name="T1" fmla="*/ 0 h 29"/>
                <a:gd name="T2" fmla="*/ 14 w 120"/>
                <a:gd name="T3" fmla="*/ 0 h 29"/>
                <a:gd name="T4" fmla="*/ 8 w 120"/>
                <a:gd name="T5" fmla="*/ 1 h 29"/>
                <a:gd name="T6" fmla="*/ 3 w 120"/>
                <a:gd name="T7" fmla="*/ 4 h 29"/>
                <a:gd name="T8" fmla="*/ 1 w 120"/>
                <a:gd name="T9" fmla="*/ 9 h 29"/>
                <a:gd name="T10" fmla="*/ 0 w 120"/>
                <a:gd name="T11" fmla="*/ 15 h 29"/>
                <a:gd name="T12" fmla="*/ 1 w 120"/>
                <a:gd name="T13" fmla="*/ 21 h 29"/>
                <a:gd name="T14" fmla="*/ 3 w 120"/>
                <a:gd name="T15" fmla="*/ 26 h 29"/>
                <a:gd name="T16" fmla="*/ 8 w 120"/>
                <a:gd name="T17" fmla="*/ 28 h 29"/>
                <a:gd name="T18" fmla="*/ 14 w 120"/>
                <a:gd name="T19" fmla="*/ 29 h 29"/>
                <a:gd name="T20" fmla="*/ 105 w 120"/>
                <a:gd name="T21" fmla="*/ 29 h 29"/>
                <a:gd name="T22" fmla="*/ 111 w 120"/>
                <a:gd name="T23" fmla="*/ 28 h 29"/>
                <a:gd name="T24" fmla="*/ 116 w 120"/>
                <a:gd name="T25" fmla="*/ 26 h 29"/>
                <a:gd name="T26" fmla="*/ 118 w 120"/>
                <a:gd name="T27" fmla="*/ 21 h 29"/>
                <a:gd name="T28" fmla="*/ 120 w 120"/>
                <a:gd name="T29" fmla="*/ 15 h 29"/>
                <a:gd name="T30" fmla="*/ 118 w 120"/>
                <a:gd name="T31" fmla="*/ 9 h 29"/>
                <a:gd name="T32" fmla="*/ 116 w 120"/>
                <a:gd name="T33" fmla="*/ 4 h 29"/>
                <a:gd name="T34" fmla="*/ 111 w 120"/>
                <a:gd name="T35" fmla="*/ 1 h 29"/>
                <a:gd name="T36" fmla="*/ 105 w 120"/>
                <a:gd name="T3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0" h="29">
                  <a:moveTo>
                    <a:pt x="105" y="0"/>
                  </a:moveTo>
                  <a:lnTo>
                    <a:pt x="14" y="0"/>
                  </a:lnTo>
                  <a:lnTo>
                    <a:pt x="8" y="1"/>
                  </a:lnTo>
                  <a:lnTo>
                    <a:pt x="3" y="4"/>
                  </a:lnTo>
                  <a:lnTo>
                    <a:pt x="1" y="9"/>
                  </a:lnTo>
                  <a:lnTo>
                    <a:pt x="0" y="15"/>
                  </a:lnTo>
                  <a:lnTo>
                    <a:pt x="1" y="21"/>
                  </a:lnTo>
                  <a:lnTo>
                    <a:pt x="3" y="26"/>
                  </a:lnTo>
                  <a:lnTo>
                    <a:pt x="8" y="28"/>
                  </a:lnTo>
                  <a:lnTo>
                    <a:pt x="14" y="29"/>
                  </a:lnTo>
                  <a:lnTo>
                    <a:pt x="105" y="29"/>
                  </a:lnTo>
                  <a:lnTo>
                    <a:pt x="111" y="28"/>
                  </a:lnTo>
                  <a:lnTo>
                    <a:pt x="116" y="26"/>
                  </a:lnTo>
                  <a:lnTo>
                    <a:pt x="118" y="21"/>
                  </a:lnTo>
                  <a:lnTo>
                    <a:pt x="120" y="15"/>
                  </a:lnTo>
                  <a:lnTo>
                    <a:pt x="118" y="9"/>
                  </a:lnTo>
                  <a:lnTo>
                    <a:pt x="116" y="4"/>
                  </a:lnTo>
                  <a:lnTo>
                    <a:pt x="111" y="1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>
                    <a:lumMod val="75000"/>
                  </a:prstClr>
                </a:solidFill>
              </a:endParaRPr>
            </a:p>
          </p:txBody>
        </p:sp>
        <p:sp>
          <p:nvSpPr>
            <p:cNvPr id="49" name="Freeform 2132"/>
            <p:cNvSpPr>
              <a:spLocks/>
            </p:cNvSpPr>
            <p:nvPr/>
          </p:nvSpPr>
          <p:spPr bwMode="auto">
            <a:xfrm>
              <a:off x="1471783" y="3007978"/>
              <a:ext cx="27891" cy="13946"/>
            </a:xfrm>
            <a:custGeom>
              <a:avLst/>
              <a:gdLst>
                <a:gd name="T0" fmla="*/ 45 w 61"/>
                <a:gd name="T1" fmla="*/ 0 h 30"/>
                <a:gd name="T2" fmla="*/ 16 w 61"/>
                <a:gd name="T3" fmla="*/ 0 h 30"/>
                <a:gd name="T4" fmla="*/ 10 w 61"/>
                <a:gd name="T5" fmla="*/ 1 h 30"/>
                <a:gd name="T6" fmla="*/ 5 w 61"/>
                <a:gd name="T7" fmla="*/ 5 h 30"/>
                <a:gd name="T8" fmla="*/ 1 w 61"/>
                <a:gd name="T9" fmla="*/ 8 h 30"/>
                <a:gd name="T10" fmla="*/ 0 w 61"/>
                <a:gd name="T11" fmla="*/ 14 h 30"/>
                <a:gd name="T12" fmla="*/ 1 w 61"/>
                <a:gd name="T13" fmla="*/ 21 h 30"/>
                <a:gd name="T14" fmla="*/ 5 w 61"/>
                <a:gd name="T15" fmla="*/ 25 h 30"/>
                <a:gd name="T16" fmla="*/ 10 w 61"/>
                <a:gd name="T17" fmla="*/ 29 h 30"/>
                <a:gd name="T18" fmla="*/ 16 w 61"/>
                <a:gd name="T19" fmla="*/ 30 h 30"/>
                <a:gd name="T20" fmla="*/ 45 w 61"/>
                <a:gd name="T21" fmla="*/ 30 h 30"/>
                <a:gd name="T22" fmla="*/ 51 w 61"/>
                <a:gd name="T23" fmla="*/ 29 h 30"/>
                <a:gd name="T24" fmla="*/ 56 w 61"/>
                <a:gd name="T25" fmla="*/ 25 h 30"/>
                <a:gd name="T26" fmla="*/ 60 w 61"/>
                <a:gd name="T27" fmla="*/ 21 h 30"/>
                <a:gd name="T28" fmla="*/ 61 w 61"/>
                <a:gd name="T29" fmla="*/ 14 h 30"/>
                <a:gd name="T30" fmla="*/ 60 w 61"/>
                <a:gd name="T31" fmla="*/ 8 h 30"/>
                <a:gd name="T32" fmla="*/ 56 w 61"/>
                <a:gd name="T33" fmla="*/ 5 h 30"/>
                <a:gd name="T34" fmla="*/ 51 w 61"/>
                <a:gd name="T35" fmla="*/ 1 h 30"/>
                <a:gd name="T36" fmla="*/ 45 w 61"/>
                <a:gd name="T3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30">
                  <a:moveTo>
                    <a:pt x="45" y="0"/>
                  </a:moveTo>
                  <a:lnTo>
                    <a:pt x="16" y="0"/>
                  </a:lnTo>
                  <a:lnTo>
                    <a:pt x="10" y="1"/>
                  </a:lnTo>
                  <a:lnTo>
                    <a:pt x="5" y="5"/>
                  </a:lnTo>
                  <a:lnTo>
                    <a:pt x="1" y="8"/>
                  </a:lnTo>
                  <a:lnTo>
                    <a:pt x="0" y="14"/>
                  </a:lnTo>
                  <a:lnTo>
                    <a:pt x="1" y="21"/>
                  </a:lnTo>
                  <a:lnTo>
                    <a:pt x="5" y="25"/>
                  </a:lnTo>
                  <a:lnTo>
                    <a:pt x="10" y="29"/>
                  </a:lnTo>
                  <a:lnTo>
                    <a:pt x="16" y="30"/>
                  </a:lnTo>
                  <a:lnTo>
                    <a:pt x="45" y="30"/>
                  </a:lnTo>
                  <a:lnTo>
                    <a:pt x="51" y="29"/>
                  </a:lnTo>
                  <a:lnTo>
                    <a:pt x="56" y="25"/>
                  </a:lnTo>
                  <a:lnTo>
                    <a:pt x="60" y="21"/>
                  </a:lnTo>
                  <a:lnTo>
                    <a:pt x="61" y="14"/>
                  </a:lnTo>
                  <a:lnTo>
                    <a:pt x="60" y="8"/>
                  </a:lnTo>
                  <a:lnTo>
                    <a:pt x="56" y="5"/>
                  </a:lnTo>
                  <a:lnTo>
                    <a:pt x="51" y="1"/>
                  </a:lnTo>
                  <a:lnTo>
                    <a:pt x="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>
                    <a:lumMod val="75000"/>
                  </a:prstClr>
                </a:solidFill>
              </a:endParaRPr>
            </a:p>
          </p:txBody>
        </p:sp>
        <p:sp>
          <p:nvSpPr>
            <p:cNvPr id="50" name="Freeform 2133"/>
            <p:cNvSpPr>
              <a:spLocks/>
            </p:cNvSpPr>
            <p:nvPr/>
          </p:nvSpPr>
          <p:spPr bwMode="auto">
            <a:xfrm>
              <a:off x="1367192" y="2705826"/>
              <a:ext cx="237074" cy="260316"/>
            </a:xfrm>
            <a:custGeom>
              <a:avLst/>
              <a:gdLst>
                <a:gd name="T0" fmla="*/ 242 w 511"/>
                <a:gd name="T1" fmla="*/ 1 h 556"/>
                <a:gd name="T2" fmla="*/ 217 w 511"/>
                <a:gd name="T3" fmla="*/ 3 h 556"/>
                <a:gd name="T4" fmla="*/ 192 w 511"/>
                <a:gd name="T5" fmla="*/ 8 h 556"/>
                <a:gd name="T6" fmla="*/ 168 w 511"/>
                <a:gd name="T7" fmla="*/ 15 h 556"/>
                <a:gd name="T8" fmla="*/ 134 w 511"/>
                <a:gd name="T9" fmla="*/ 31 h 556"/>
                <a:gd name="T10" fmla="*/ 93 w 511"/>
                <a:gd name="T11" fmla="*/ 58 h 556"/>
                <a:gd name="T12" fmla="*/ 59 w 511"/>
                <a:gd name="T13" fmla="*/ 94 h 556"/>
                <a:gd name="T14" fmla="*/ 31 w 511"/>
                <a:gd name="T15" fmla="*/ 134 h 556"/>
                <a:gd name="T16" fmla="*/ 15 w 511"/>
                <a:gd name="T17" fmla="*/ 168 h 556"/>
                <a:gd name="T18" fmla="*/ 8 w 511"/>
                <a:gd name="T19" fmla="*/ 191 h 556"/>
                <a:gd name="T20" fmla="*/ 3 w 511"/>
                <a:gd name="T21" fmla="*/ 217 h 556"/>
                <a:gd name="T22" fmla="*/ 0 w 511"/>
                <a:gd name="T23" fmla="*/ 243 h 556"/>
                <a:gd name="T24" fmla="*/ 0 w 511"/>
                <a:gd name="T25" fmla="*/ 277 h 556"/>
                <a:gd name="T26" fmla="*/ 8 w 511"/>
                <a:gd name="T27" fmla="*/ 317 h 556"/>
                <a:gd name="T28" fmla="*/ 20 w 511"/>
                <a:gd name="T29" fmla="*/ 355 h 556"/>
                <a:gd name="T30" fmla="*/ 39 w 511"/>
                <a:gd name="T31" fmla="*/ 392 h 556"/>
                <a:gd name="T32" fmla="*/ 63 w 511"/>
                <a:gd name="T33" fmla="*/ 423 h 556"/>
                <a:gd name="T34" fmla="*/ 91 w 511"/>
                <a:gd name="T35" fmla="*/ 451 h 556"/>
                <a:gd name="T36" fmla="*/ 124 w 511"/>
                <a:gd name="T37" fmla="*/ 475 h 556"/>
                <a:gd name="T38" fmla="*/ 160 w 511"/>
                <a:gd name="T39" fmla="*/ 493 h 556"/>
                <a:gd name="T40" fmla="*/ 180 w 511"/>
                <a:gd name="T41" fmla="*/ 542 h 556"/>
                <a:gd name="T42" fmla="*/ 185 w 511"/>
                <a:gd name="T43" fmla="*/ 552 h 556"/>
                <a:gd name="T44" fmla="*/ 196 w 511"/>
                <a:gd name="T45" fmla="*/ 556 h 556"/>
                <a:gd name="T46" fmla="*/ 322 w 511"/>
                <a:gd name="T47" fmla="*/ 555 h 556"/>
                <a:gd name="T48" fmla="*/ 330 w 511"/>
                <a:gd name="T49" fmla="*/ 547 h 556"/>
                <a:gd name="T50" fmla="*/ 331 w 511"/>
                <a:gd name="T51" fmla="*/ 500 h 556"/>
                <a:gd name="T52" fmla="*/ 369 w 511"/>
                <a:gd name="T53" fmla="*/ 484 h 556"/>
                <a:gd name="T54" fmla="*/ 405 w 511"/>
                <a:gd name="T55" fmla="*/ 464 h 556"/>
                <a:gd name="T56" fmla="*/ 435 w 511"/>
                <a:gd name="T57" fmla="*/ 438 h 556"/>
                <a:gd name="T58" fmla="*/ 461 w 511"/>
                <a:gd name="T59" fmla="*/ 407 h 556"/>
                <a:gd name="T60" fmla="*/ 483 w 511"/>
                <a:gd name="T61" fmla="*/ 373 h 556"/>
                <a:gd name="T62" fmla="*/ 499 w 511"/>
                <a:gd name="T63" fmla="*/ 337 h 556"/>
                <a:gd name="T64" fmla="*/ 508 w 511"/>
                <a:gd name="T65" fmla="*/ 298 h 556"/>
                <a:gd name="T66" fmla="*/ 511 w 511"/>
                <a:gd name="T67" fmla="*/ 256 h 556"/>
                <a:gd name="T68" fmla="*/ 510 w 511"/>
                <a:gd name="T69" fmla="*/ 229 h 556"/>
                <a:gd name="T70" fmla="*/ 506 w 511"/>
                <a:gd name="T71" fmla="*/ 205 h 556"/>
                <a:gd name="T72" fmla="*/ 500 w 511"/>
                <a:gd name="T73" fmla="*/ 179 h 556"/>
                <a:gd name="T74" fmla="*/ 491 w 511"/>
                <a:gd name="T75" fmla="*/ 156 h 556"/>
                <a:gd name="T76" fmla="*/ 468 w 511"/>
                <a:gd name="T77" fmla="*/ 113 h 556"/>
                <a:gd name="T78" fmla="*/ 436 w 511"/>
                <a:gd name="T79" fmla="*/ 75 h 556"/>
                <a:gd name="T80" fmla="*/ 399 w 511"/>
                <a:gd name="T81" fmla="*/ 44 h 556"/>
                <a:gd name="T82" fmla="*/ 355 w 511"/>
                <a:gd name="T83" fmla="*/ 20 h 556"/>
                <a:gd name="T84" fmla="*/ 331 w 511"/>
                <a:gd name="T85" fmla="*/ 12 h 556"/>
                <a:gd name="T86" fmla="*/ 307 w 511"/>
                <a:gd name="T87" fmla="*/ 6 h 556"/>
                <a:gd name="T88" fmla="*/ 281 w 511"/>
                <a:gd name="T89" fmla="*/ 1 h 556"/>
                <a:gd name="T90" fmla="*/ 256 w 511"/>
                <a:gd name="T91" fmla="*/ 0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11" h="556">
                  <a:moveTo>
                    <a:pt x="256" y="0"/>
                  </a:moveTo>
                  <a:lnTo>
                    <a:pt x="242" y="1"/>
                  </a:lnTo>
                  <a:lnTo>
                    <a:pt x="230" y="1"/>
                  </a:lnTo>
                  <a:lnTo>
                    <a:pt x="217" y="3"/>
                  </a:lnTo>
                  <a:lnTo>
                    <a:pt x="204" y="6"/>
                  </a:lnTo>
                  <a:lnTo>
                    <a:pt x="192" y="8"/>
                  </a:lnTo>
                  <a:lnTo>
                    <a:pt x="180" y="12"/>
                  </a:lnTo>
                  <a:lnTo>
                    <a:pt x="168" y="15"/>
                  </a:lnTo>
                  <a:lnTo>
                    <a:pt x="157" y="20"/>
                  </a:lnTo>
                  <a:lnTo>
                    <a:pt x="134" y="31"/>
                  </a:lnTo>
                  <a:lnTo>
                    <a:pt x="113" y="44"/>
                  </a:lnTo>
                  <a:lnTo>
                    <a:pt x="93" y="58"/>
                  </a:lnTo>
                  <a:lnTo>
                    <a:pt x="75" y="75"/>
                  </a:lnTo>
                  <a:lnTo>
                    <a:pt x="59" y="94"/>
                  </a:lnTo>
                  <a:lnTo>
                    <a:pt x="43" y="113"/>
                  </a:lnTo>
                  <a:lnTo>
                    <a:pt x="31" y="134"/>
                  </a:lnTo>
                  <a:lnTo>
                    <a:pt x="20" y="156"/>
                  </a:lnTo>
                  <a:lnTo>
                    <a:pt x="15" y="168"/>
                  </a:lnTo>
                  <a:lnTo>
                    <a:pt x="11" y="179"/>
                  </a:lnTo>
                  <a:lnTo>
                    <a:pt x="8" y="191"/>
                  </a:lnTo>
                  <a:lnTo>
                    <a:pt x="5" y="205"/>
                  </a:lnTo>
                  <a:lnTo>
                    <a:pt x="3" y="217"/>
                  </a:lnTo>
                  <a:lnTo>
                    <a:pt x="2" y="229"/>
                  </a:lnTo>
                  <a:lnTo>
                    <a:pt x="0" y="243"/>
                  </a:lnTo>
                  <a:lnTo>
                    <a:pt x="0" y="256"/>
                  </a:lnTo>
                  <a:lnTo>
                    <a:pt x="0" y="277"/>
                  </a:lnTo>
                  <a:lnTo>
                    <a:pt x="3" y="298"/>
                  </a:lnTo>
                  <a:lnTo>
                    <a:pt x="8" y="317"/>
                  </a:lnTo>
                  <a:lnTo>
                    <a:pt x="13" y="337"/>
                  </a:lnTo>
                  <a:lnTo>
                    <a:pt x="20" y="355"/>
                  </a:lnTo>
                  <a:lnTo>
                    <a:pt x="28" y="373"/>
                  </a:lnTo>
                  <a:lnTo>
                    <a:pt x="39" y="392"/>
                  </a:lnTo>
                  <a:lnTo>
                    <a:pt x="50" y="407"/>
                  </a:lnTo>
                  <a:lnTo>
                    <a:pt x="63" y="423"/>
                  </a:lnTo>
                  <a:lnTo>
                    <a:pt x="76" y="438"/>
                  </a:lnTo>
                  <a:lnTo>
                    <a:pt x="91" y="451"/>
                  </a:lnTo>
                  <a:lnTo>
                    <a:pt x="107" y="464"/>
                  </a:lnTo>
                  <a:lnTo>
                    <a:pt x="124" y="475"/>
                  </a:lnTo>
                  <a:lnTo>
                    <a:pt x="142" y="484"/>
                  </a:lnTo>
                  <a:lnTo>
                    <a:pt x="160" y="493"/>
                  </a:lnTo>
                  <a:lnTo>
                    <a:pt x="180" y="500"/>
                  </a:lnTo>
                  <a:lnTo>
                    <a:pt x="180" y="542"/>
                  </a:lnTo>
                  <a:lnTo>
                    <a:pt x="181" y="547"/>
                  </a:lnTo>
                  <a:lnTo>
                    <a:pt x="185" y="552"/>
                  </a:lnTo>
                  <a:lnTo>
                    <a:pt x="190" y="555"/>
                  </a:lnTo>
                  <a:lnTo>
                    <a:pt x="196" y="556"/>
                  </a:lnTo>
                  <a:lnTo>
                    <a:pt x="316" y="556"/>
                  </a:lnTo>
                  <a:lnTo>
                    <a:pt x="322" y="555"/>
                  </a:lnTo>
                  <a:lnTo>
                    <a:pt x="327" y="552"/>
                  </a:lnTo>
                  <a:lnTo>
                    <a:pt x="330" y="547"/>
                  </a:lnTo>
                  <a:lnTo>
                    <a:pt x="331" y="542"/>
                  </a:lnTo>
                  <a:lnTo>
                    <a:pt x="331" y="500"/>
                  </a:lnTo>
                  <a:lnTo>
                    <a:pt x="351" y="493"/>
                  </a:lnTo>
                  <a:lnTo>
                    <a:pt x="369" y="484"/>
                  </a:lnTo>
                  <a:lnTo>
                    <a:pt x="388" y="475"/>
                  </a:lnTo>
                  <a:lnTo>
                    <a:pt x="405" y="464"/>
                  </a:lnTo>
                  <a:lnTo>
                    <a:pt x="421" y="451"/>
                  </a:lnTo>
                  <a:lnTo>
                    <a:pt x="435" y="438"/>
                  </a:lnTo>
                  <a:lnTo>
                    <a:pt x="449" y="423"/>
                  </a:lnTo>
                  <a:lnTo>
                    <a:pt x="461" y="407"/>
                  </a:lnTo>
                  <a:lnTo>
                    <a:pt x="473" y="392"/>
                  </a:lnTo>
                  <a:lnTo>
                    <a:pt x="483" y="373"/>
                  </a:lnTo>
                  <a:lnTo>
                    <a:pt x="491" y="355"/>
                  </a:lnTo>
                  <a:lnTo>
                    <a:pt x="499" y="337"/>
                  </a:lnTo>
                  <a:lnTo>
                    <a:pt x="504" y="317"/>
                  </a:lnTo>
                  <a:lnTo>
                    <a:pt x="508" y="298"/>
                  </a:lnTo>
                  <a:lnTo>
                    <a:pt x="511" y="277"/>
                  </a:lnTo>
                  <a:lnTo>
                    <a:pt x="511" y="256"/>
                  </a:lnTo>
                  <a:lnTo>
                    <a:pt x="511" y="243"/>
                  </a:lnTo>
                  <a:lnTo>
                    <a:pt x="510" y="229"/>
                  </a:lnTo>
                  <a:lnTo>
                    <a:pt x="508" y="217"/>
                  </a:lnTo>
                  <a:lnTo>
                    <a:pt x="506" y="205"/>
                  </a:lnTo>
                  <a:lnTo>
                    <a:pt x="504" y="191"/>
                  </a:lnTo>
                  <a:lnTo>
                    <a:pt x="500" y="179"/>
                  </a:lnTo>
                  <a:lnTo>
                    <a:pt x="496" y="168"/>
                  </a:lnTo>
                  <a:lnTo>
                    <a:pt x="491" y="156"/>
                  </a:lnTo>
                  <a:lnTo>
                    <a:pt x="480" y="134"/>
                  </a:lnTo>
                  <a:lnTo>
                    <a:pt x="468" y="113"/>
                  </a:lnTo>
                  <a:lnTo>
                    <a:pt x="452" y="94"/>
                  </a:lnTo>
                  <a:lnTo>
                    <a:pt x="436" y="75"/>
                  </a:lnTo>
                  <a:lnTo>
                    <a:pt x="418" y="58"/>
                  </a:lnTo>
                  <a:lnTo>
                    <a:pt x="399" y="44"/>
                  </a:lnTo>
                  <a:lnTo>
                    <a:pt x="378" y="31"/>
                  </a:lnTo>
                  <a:lnTo>
                    <a:pt x="355" y="20"/>
                  </a:lnTo>
                  <a:lnTo>
                    <a:pt x="344" y="15"/>
                  </a:lnTo>
                  <a:lnTo>
                    <a:pt x="331" y="12"/>
                  </a:lnTo>
                  <a:lnTo>
                    <a:pt x="319" y="8"/>
                  </a:lnTo>
                  <a:lnTo>
                    <a:pt x="307" y="6"/>
                  </a:lnTo>
                  <a:lnTo>
                    <a:pt x="295" y="3"/>
                  </a:lnTo>
                  <a:lnTo>
                    <a:pt x="281" y="1"/>
                  </a:lnTo>
                  <a:lnTo>
                    <a:pt x="269" y="1"/>
                  </a:lnTo>
                  <a:lnTo>
                    <a:pt x="25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>
                    <a:lumMod val="75000"/>
                  </a:prstClr>
                </a:solidFill>
              </a:endParaRPr>
            </a:p>
          </p:txBody>
        </p:sp>
        <p:sp>
          <p:nvSpPr>
            <p:cNvPr id="51" name="Freeform 2134"/>
            <p:cNvSpPr>
              <a:spLocks/>
            </p:cNvSpPr>
            <p:nvPr/>
          </p:nvSpPr>
          <p:spPr bwMode="auto">
            <a:xfrm>
              <a:off x="1295127" y="2810415"/>
              <a:ext cx="41837" cy="16271"/>
            </a:xfrm>
            <a:custGeom>
              <a:avLst/>
              <a:gdLst>
                <a:gd name="T0" fmla="*/ 76 w 90"/>
                <a:gd name="T1" fmla="*/ 0 h 31"/>
                <a:gd name="T2" fmla="*/ 16 w 90"/>
                <a:gd name="T3" fmla="*/ 0 h 31"/>
                <a:gd name="T4" fmla="*/ 10 w 90"/>
                <a:gd name="T5" fmla="*/ 2 h 31"/>
                <a:gd name="T6" fmla="*/ 5 w 90"/>
                <a:gd name="T7" fmla="*/ 5 h 31"/>
                <a:gd name="T8" fmla="*/ 1 w 90"/>
                <a:gd name="T9" fmla="*/ 10 h 31"/>
                <a:gd name="T10" fmla="*/ 0 w 90"/>
                <a:gd name="T11" fmla="*/ 15 h 31"/>
                <a:gd name="T12" fmla="*/ 1 w 90"/>
                <a:gd name="T13" fmla="*/ 21 h 31"/>
                <a:gd name="T14" fmla="*/ 5 w 90"/>
                <a:gd name="T15" fmla="*/ 26 h 31"/>
                <a:gd name="T16" fmla="*/ 10 w 90"/>
                <a:gd name="T17" fmla="*/ 30 h 31"/>
                <a:gd name="T18" fmla="*/ 16 w 90"/>
                <a:gd name="T19" fmla="*/ 31 h 31"/>
                <a:gd name="T20" fmla="*/ 76 w 90"/>
                <a:gd name="T21" fmla="*/ 31 h 31"/>
                <a:gd name="T22" fmla="*/ 82 w 90"/>
                <a:gd name="T23" fmla="*/ 30 h 31"/>
                <a:gd name="T24" fmla="*/ 87 w 90"/>
                <a:gd name="T25" fmla="*/ 26 h 31"/>
                <a:gd name="T26" fmla="*/ 89 w 90"/>
                <a:gd name="T27" fmla="*/ 21 h 31"/>
                <a:gd name="T28" fmla="*/ 90 w 90"/>
                <a:gd name="T29" fmla="*/ 15 h 31"/>
                <a:gd name="T30" fmla="*/ 89 w 90"/>
                <a:gd name="T31" fmla="*/ 10 h 31"/>
                <a:gd name="T32" fmla="*/ 87 w 90"/>
                <a:gd name="T33" fmla="*/ 5 h 31"/>
                <a:gd name="T34" fmla="*/ 82 w 90"/>
                <a:gd name="T35" fmla="*/ 2 h 31"/>
                <a:gd name="T36" fmla="*/ 76 w 9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0" h="31">
                  <a:moveTo>
                    <a:pt x="76" y="0"/>
                  </a:moveTo>
                  <a:lnTo>
                    <a:pt x="16" y="0"/>
                  </a:lnTo>
                  <a:lnTo>
                    <a:pt x="10" y="2"/>
                  </a:lnTo>
                  <a:lnTo>
                    <a:pt x="5" y="5"/>
                  </a:lnTo>
                  <a:lnTo>
                    <a:pt x="1" y="10"/>
                  </a:lnTo>
                  <a:lnTo>
                    <a:pt x="0" y="15"/>
                  </a:lnTo>
                  <a:lnTo>
                    <a:pt x="1" y="21"/>
                  </a:lnTo>
                  <a:lnTo>
                    <a:pt x="5" y="26"/>
                  </a:lnTo>
                  <a:lnTo>
                    <a:pt x="10" y="30"/>
                  </a:lnTo>
                  <a:lnTo>
                    <a:pt x="16" y="31"/>
                  </a:lnTo>
                  <a:lnTo>
                    <a:pt x="76" y="31"/>
                  </a:lnTo>
                  <a:lnTo>
                    <a:pt x="82" y="30"/>
                  </a:lnTo>
                  <a:lnTo>
                    <a:pt x="87" y="26"/>
                  </a:lnTo>
                  <a:lnTo>
                    <a:pt x="89" y="21"/>
                  </a:lnTo>
                  <a:lnTo>
                    <a:pt x="90" y="15"/>
                  </a:lnTo>
                  <a:lnTo>
                    <a:pt x="89" y="10"/>
                  </a:lnTo>
                  <a:lnTo>
                    <a:pt x="87" y="5"/>
                  </a:lnTo>
                  <a:lnTo>
                    <a:pt x="82" y="2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>
                    <a:lumMod val="75000"/>
                  </a:prstClr>
                </a:solidFill>
              </a:endParaRPr>
            </a:p>
          </p:txBody>
        </p:sp>
        <p:sp>
          <p:nvSpPr>
            <p:cNvPr id="52" name="Freeform 2135"/>
            <p:cNvSpPr>
              <a:spLocks/>
            </p:cNvSpPr>
            <p:nvPr/>
          </p:nvSpPr>
          <p:spPr bwMode="auto">
            <a:xfrm>
              <a:off x="1336977" y="2684907"/>
              <a:ext cx="51134" cy="51134"/>
            </a:xfrm>
            <a:custGeom>
              <a:avLst/>
              <a:gdLst>
                <a:gd name="T0" fmla="*/ 91 w 107"/>
                <a:gd name="T1" fmla="*/ 107 h 107"/>
                <a:gd name="T2" fmla="*/ 97 w 107"/>
                <a:gd name="T3" fmla="*/ 105 h 107"/>
                <a:gd name="T4" fmla="*/ 102 w 107"/>
                <a:gd name="T5" fmla="*/ 102 h 107"/>
                <a:gd name="T6" fmla="*/ 105 w 107"/>
                <a:gd name="T7" fmla="*/ 97 h 107"/>
                <a:gd name="T8" fmla="*/ 107 w 107"/>
                <a:gd name="T9" fmla="*/ 91 h 107"/>
                <a:gd name="T10" fmla="*/ 105 w 107"/>
                <a:gd name="T11" fmla="*/ 86 h 107"/>
                <a:gd name="T12" fmla="*/ 102 w 107"/>
                <a:gd name="T13" fmla="*/ 81 h 107"/>
                <a:gd name="T14" fmla="*/ 26 w 107"/>
                <a:gd name="T15" fmla="*/ 5 h 107"/>
                <a:gd name="T16" fmla="*/ 21 w 107"/>
                <a:gd name="T17" fmla="*/ 2 h 107"/>
                <a:gd name="T18" fmla="*/ 16 w 107"/>
                <a:gd name="T19" fmla="*/ 0 h 107"/>
                <a:gd name="T20" fmla="*/ 10 w 107"/>
                <a:gd name="T21" fmla="*/ 2 h 107"/>
                <a:gd name="T22" fmla="*/ 5 w 107"/>
                <a:gd name="T23" fmla="*/ 5 h 107"/>
                <a:gd name="T24" fmla="*/ 2 w 107"/>
                <a:gd name="T25" fmla="*/ 10 h 107"/>
                <a:gd name="T26" fmla="*/ 0 w 107"/>
                <a:gd name="T27" fmla="*/ 16 h 107"/>
                <a:gd name="T28" fmla="*/ 2 w 107"/>
                <a:gd name="T29" fmla="*/ 21 h 107"/>
                <a:gd name="T30" fmla="*/ 5 w 107"/>
                <a:gd name="T31" fmla="*/ 26 h 107"/>
                <a:gd name="T32" fmla="*/ 81 w 107"/>
                <a:gd name="T33" fmla="*/ 102 h 107"/>
                <a:gd name="T34" fmla="*/ 86 w 107"/>
                <a:gd name="T35" fmla="*/ 105 h 107"/>
                <a:gd name="T36" fmla="*/ 91 w 107"/>
                <a:gd name="T37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7" h="107">
                  <a:moveTo>
                    <a:pt x="91" y="107"/>
                  </a:moveTo>
                  <a:lnTo>
                    <a:pt x="97" y="105"/>
                  </a:lnTo>
                  <a:lnTo>
                    <a:pt x="102" y="102"/>
                  </a:lnTo>
                  <a:lnTo>
                    <a:pt x="105" y="97"/>
                  </a:lnTo>
                  <a:lnTo>
                    <a:pt x="107" y="91"/>
                  </a:lnTo>
                  <a:lnTo>
                    <a:pt x="105" y="86"/>
                  </a:lnTo>
                  <a:lnTo>
                    <a:pt x="102" y="81"/>
                  </a:lnTo>
                  <a:lnTo>
                    <a:pt x="26" y="5"/>
                  </a:lnTo>
                  <a:lnTo>
                    <a:pt x="21" y="2"/>
                  </a:lnTo>
                  <a:lnTo>
                    <a:pt x="16" y="0"/>
                  </a:lnTo>
                  <a:lnTo>
                    <a:pt x="10" y="2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81" y="102"/>
                  </a:lnTo>
                  <a:lnTo>
                    <a:pt x="86" y="105"/>
                  </a:lnTo>
                  <a:lnTo>
                    <a:pt x="91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>
                    <a:lumMod val="75000"/>
                  </a:prstClr>
                </a:solidFill>
              </a:endParaRPr>
            </a:p>
          </p:txBody>
        </p:sp>
        <p:sp>
          <p:nvSpPr>
            <p:cNvPr id="53" name="Freeform 2136"/>
            <p:cNvSpPr>
              <a:spLocks/>
            </p:cNvSpPr>
            <p:nvPr/>
          </p:nvSpPr>
          <p:spPr bwMode="auto">
            <a:xfrm>
              <a:off x="1478746" y="2643071"/>
              <a:ext cx="13946" cy="41836"/>
            </a:xfrm>
            <a:custGeom>
              <a:avLst/>
              <a:gdLst>
                <a:gd name="T0" fmla="*/ 15 w 29"/>
                <a:gd name="T1" fmla="*/ 90 h 90"/>
                <a:gd name="T2" fmla="*/ 21 w 29"/>
                <a:gd name="T3" fmla="*/ 89 h 90"/>
                <a:gd name="T4" fmla="*/ 26 w 29"/>
                <a:gd name="T5" fmla="*/ 87 h 90"/>
                <a:gd name="T6" fmla="*/ 28 w 29"/>
                <a:gd name="T7" fmla="*/ 82 h 90"/>
                <a:gd name="T8" fmla="*/ 29 w 29"/>
                <a:gd name="T9" fmla="*/ 76 h 90"/>
                <a:gd name="T10" fmla="*/ 29 w 29"/>
                <a:gd name="T11" fmla="*/ 16 h 90"/>
                <a:gd name="T12" fmla="*/ 28 w 29"/>
                <a:gd name="T13" fmla="*/ 10 h 90"/>
                <a:gd name="T14" fmla="*/ 26 w 29"/>
                <a:gd name="T15" fmla="*/ 5 h 90"/>
                <a:gd name="T16" fmla="*/ 21 w 29"/>
                <a:gd name="T17" fmla="*/ 1 h 90"/>
                <a:gd name="T18" fmla="*/ 15 w 29"/>
                <a:gd name="T19" fmla="*/ 0 h 90"/>
                <a:gd name="T20" fmla="*/ 9 w 29"/>
                <a:gd name="T21" fmla="*/ 1 h 90"/>
                <a:gd name="T22" fmla="*/ 4 w 29"/>
                <a:gd name="T23" fmla="*/ 5 h 90"/>
                <a:gd name="T24" fmla="*/ 1 w 29"/>
                <a:gd name="T25" fmla="*/ 10 h 90"/>
                <a:gd name="T26" fmla="*/ 0 w 29"/>
                <a:gd name="T27" fmla="*/ 16 h 90"/>
                <a:gd name="T28" fmla="*/ 0 w 29"/>
                <a:gd name="T29" fmla="*/ 76 h 90"/>
                <a:gd name="T30" fmla="*/ 1 w 29"/>
                <a:gd name="T31" fmla="*/ 82 h 90"/>
                <a:gd name="T32" fmla="*/ 4 w 29"/>
                <a:gd name="T33" fmla="*/ 87 h 90"/>
                <a:gd name="T34" fmla="*/ 9 w 29"/>
                <a:gd name="T35" fmla="*/ 89 h 90"/>
                <a:gd name="T36" fmla="*/ 15 w 29"/>
                <a:gd name="T3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" h="90">
                  <a:moveTo>
                    <a:pt x="15" y="90"/>
                  </a:moveTo>
                  <a:lnTo>
                    <a:pt x="21" y="89"/>
                  </a:lnTo>
                  <a:lnTo>
                    <a:pt x="26" y="87"/>
                  </a:lnTo>
                  <a:lnTo>
                    <a:pt x="28" y="82"/>
                  </a:lnTo>
                  <a:lnTo>
                    <a:pt x="29" y="76"/>
                  </a:lnTo>
                  <a:lnTo>
                    <a:pt x="29" y="16"/>
                  </a:lnTo>
                  <a:lnTo>
                    <a:pt x="28" y="10"/>
                  </a:lnTo>
                  <a:lnTo>
                    <a:pt x="26" y="5"/>
                  </a:lnTo>
                  <a:lnTo>
                    <a:pt x="21" y="1"/>
                  </a:lnTo>
                  <a:lnTo>
                    <a:pt x="15" y="0"/>
                  </a:lnTo>
                  <a:lnTo>
                    <a:pt x="9" y="1"/>
                  </a:lnTo>
                  <a:lnTo>
                    <a:pt x="4" y="5"/>
                  </a:lnTo>
                  <a:lnTo>
                    <a:pt x="1" y="10"/>
                  </a:lnTo>
                  <a:lnTo>
                    <a:pt x="0" y="16"/>
                  </a:lnTo>
                  <a:lnTo>
                    <a:pt x="0" y="76"/>
                  </a:lnTo>
                  <a:lnTo>
                    <a:pt x="1" y="82"/>
                  </a:lnTo>
                  <a:lnTo>
                    <a:pt x="4" y="87"/>
                  </a:lnTo>
                  <a:lnTo>
                    <a:pt x="9" y="89"/>
                  </a:lnTo>
                  <a:lnTo>
                    <a:pt x="15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>
                    <a:lumMod val="75000"/>
                  </a:prstClr>
                </a:solidFill>
              </a:endParaRPr>
            </a:p>
          </p:txBody>
        </p:sp>
        <p:sp>
          <p:nvSpPr>
            <p:cNvPr id="54" name="Freeform 2137"/>
            <p:cNvSpPr>
              <a:spLocks/>
            </p:cNvSpPr>
            <p:nvPr/>
          </p:nvSpPr>
          <p:spPr bwMode="auto">
            <a:xfrm>
              <a:off x="1583373" y="2684912"/>
              <a:ext cx="48811" cy="51134"/>
            </a:xfrm>
            <a:custGeom>
              <a:avLst/>
              <a:gdLst>
                <a:gd name="T0" fmla="*/ 101 w 106"/>
                <a:gd name="T1" fmla="*/ 5 h 107"/>
                <a:gd name="T2" fmla="*/ 96 w 106"/>
                <a:gd name="T3" fmla="*/ 2 h 107"/>
                <a:gd name="T4" fmla="*/ 90 w 106"/>
                <a:gd name="T5" fmla="*/ 0 h 107"/>
                <a:gd name="T6" fmla="*/ 85 w 106"/>
                <a:gd name="T7" fmla="*/ 2 h 107"/>
                <a:gd name="T8" fmla="*/ 80 w 106"/>
                <a:gd name="T9" fmla="*/ 5 h 107"/>
                <a:gd name="T10" fmla="*/ 5 w 106"/>
                <a:gd name="T11" fmla="*/ 80 h 107"/>
                <a:gd name="T12" fmla="*/ 1 w 106"/>
                <a:gd name="T13" fmla="*/ 86 h 107"/>
                <a:gd name="T14" fmla="*/ 0 w 106"/>
                <a:gd name="T15" fmla="*/ 91 h 107"/>
                <a:gd name="T16" fmla="*/ 1 w 106"/>
                <a:gd name="T17" fmla="*/ 97 h 107"/>
                <a:gd name="T18" fmla="*/ 5 w 106"/>
                <a:gd name="T19" fmla="*/ 102 h 107"/>
                <a:gd name="T20" fmla="*/ 10 w 106"/>
                <a:gd name="T21" fmla="*/ 105 h 107"/>
                <a:gd name="T22" fmla="*/ 16 w 106"/>
                <a:gd name="T23" fmla="*/ 107 h 107"/>
                <a:gd name="T24" fmla="*/ 21 w 106"/>
                <a:gd name="T25" fmla="*/ 105 h 107"/>
                <a:gd name="T26" fmla="*/ 25 w 106"/>
                <a:gd name="T27" fmla="*/ 102 h 107"/>
                <a:gd name="T28" fmla="*/ 101 w 106"/>
                <a:gd name="T29" fmla="*/ 26 h 107"/>
                <a:gd name="T30" fmla="*/ 105 w 106"/>
                <a:gd name="T31" fmla="*/ 21 h 107"/>
                <a:gd name="T32" fmla="*/ 106 w 106"/>
                <a:gd name="T33" fmla="*/ 16 h 107"/>
                <a:gd name="T34" fmla="*/ 105 w 106"/>
                <a:gd name="T35" fmla="*/ 10 h 107"/>
                <a:gd name="T36" fmla="*/ 101 w 106"/>
                <a:gd name="T37" fmla="*/ 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6" h="107">
                  <a:moveTo>
                    <a:pt x="101" y="5"/>
                  </a:moveTo>
                  <a:lnTo>
                    <a:pt x="96" y="2"/>
                  </a:lnTo>
                  <a:lnTo>
                    <a:pt x="90" y="0"/>
                  </a:lnTo>
                  <a:lnTo>
                    <a:pt x="85" y="2"/>
                  </a:lnTo>
                  <a:lnTo>
                    <a:pt x="80" y="5"/>
                  </a:lnTo>
                  <a:lnTo>
                    <a:pt x="5" y="80"/>
                  </a:lnTo>
                  <a:lnTo>
                    <a:pt x="1" y="86"/>
                  </a:lnTo>
                  <a:lnTo>
                    <a:pt x="0" y="91"/>
                  </a:lnTo>
                  <a:lnTo>
                    <a:pt x="1" y="97"/>
                  </a:lnTo>
                  <a:lnTo>
                    <a:pt x="5" y="102"/>
                  </a:lnTo>
                  <a:lnTo>
                    <a:pt x="10" y="105"/>
                  </a:lnTo>
                  <a:lnTo>
                    <a:pt x="16" y="107"/>
                  </a:lnTo>
                  <a:lnTo>
                    <a:pt x="21" y="105"/>
                  </a:lnTo>
                  <a:lnTo>
                    <a:pt x="25" y="102"/>
                  </a:lnTo>
                  <a:lnTo>
                    <a:pt x="101" y="26"/>
                  </a:lnTo>
                  <a:lnTo>
                    <a:pt x="105" y="21"/>
                  </a:lnTo>
                  <a:lnTo>
                    <a:pt x="106" y="16"/>
                  </a:lnTo>
                  <a:lnTo>
                    <a:pt x="105" y="10"/>
                  </a:lnTo>
                  <a:lnTo>
                    <a:pt x="101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>
                    <a:lumMod val="75000"/>
                  </a:prstClr>
                </a:solidFill>
              </a:endParaRPr>
            </a:p>
          </p:txBody>
        </p:sp>
        <p:sp>
          <p:nvSpPr>
            <p:cNvPr id="55" name="Freeform 2138"/>
            <p:cNvSpPr>
              <a:spLocks/>
            </p:cNvSpPr>
            <p:nvPr/>
          </p:nvSpPr>
          <p:spPr bwMode="auto">
            <a:xfrm>
              <a:off x="1632358" y="2810464"/>
              <a:ext cx="41837" cy="16271"/>
            </a:xfrm>
            <a:custGeom>
              <a:avLst/>
              <a:gdLst>
                <a:gd name="T0" fmla="*/ 75 w 90"/>
                <a:gd name="T1" fmla="*/ 0 h 31"/>
                <a:gd name="T2" fmla="*/ 15 w 90"/>
                <a:gd name="T3" fmla="*/ 0 h 31"/>
                <a:gd name="T4" fmla="*/ 9 w 90"/>
                <a:gd name="T5" fmla="*/ 2 h 31"/>
                <a:gd name="T6" fmla="*/ 4 w 90"/>
                <a:gd name="T7" fmla="*/ 5 h 31"/>
                <a:gd name="T8" fmla="*/ 1 w 90"/>
                <a:gd name="T9" fmla="*/ 10 h 31"/>
                <a:gd name="T10" fmla="*/ 0 w 90"/>
                <a:gd name="T11" fmla="*/ 15 h 31"/>
                <a:gd name="T12" fmla="*/ 1 w 90"/>
                <a:gd name="T13" fmla="*/ 21 h 31"/>
                <a:gd name="T14" fmla="*/ 4 w 90"/>
                <a:gd name="T15" fmla="*/ 26 h 31"/>
                <a:gd name="T16" fmla="*/ 9 w 90"/>
                <a:gd name="T17" fmla="*/ 30 h 31"/>
                <a:gd name="T18" fmla="*/ 15 w 90"/>
                <a:gd name="T19" fmla="*/ 31 h 31"/>
                <a:gd name="T20" fmla="*/ 75 w 90"/>
                <a:gd name="T21" fmla="*/ 31 h 31"/>
                <a:gd name="T22" fmla="*/ 81 w 90"/>
                <a:gd name="T23" fmla="*/ 30 h 31"/>
                <a:gd name="T24" fmla="*/ 86 w 90"/>
                <a:gd name="T25" fmla="*/ 26 h 31"/>
                <a:gd name="T26" fmla="*/ 89 w 90"/>
                <a:gd name="T27" fmla="*/ 21 h 31"/>
                <a:gd name="T28" fmla="*/ 90 w 90"/>
                <a:gd name="T29" fmla="*/ 15 h 31"/>
                <a:gd name="T30" fmla="*/ 89 w 90"/>
                <a:gd name="T31" fmla="*/ 10 h 31"/>
                <a:gd name="T32" fmla="*/ 86 w 90"/>
                <a:gd name="T33" fmla="*/ 5 h 31"/>
                <a:gd name="T34" fmla="*/ 81 w 90"/>
                <a:gd name="T35" fmla="*/ 2 h 31"/>
                <a:gd name="T36" fmla="*/ 75 w 9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0" h="31">
                  <a:moveTo>
                    <a:pt x="75" y="0"/>
                  </a:moveTo>
                  <a:lnTo>
                    <a:pt x="15" y="0"/>
                  </a:lnTo>
                  <a:lnTo>
                    <a:pt x="9" y="2"/>
                  </a:lnTo>
                  <a:lnTo>
                    <a:pt x="4" y="5"/>
                  </a:lnTo>
                  <a:lnTo>
                    <a:pt x="1" y="10"/>
                  </a:lnTo>
                  <a:lnTo>
                    <a:pt x="0" y="15"/>
                  </a:lnTo>
                  <a:lnTo>
                    <a:pt x="1" y="21"/>
                  </a:lnTo>
                  <a:lnTo>
                    <a:pt x="4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75" y="31"/>
                  </a:lnTo>
                  <a:lnTo>
                    <a:pt x="81" y="30"/>
                  </a:lnTo>
                  <a:lnTo>
                    <a:pt x="86" y="26"/>
                  </a:lnTo>
                  <a:lnTo>
                    <a:pt x="89" y="21"/>
                  </a:lnTo>
                  <a:lnTo>
                    <a:pt x="90" y="15"/>
                  </a:lnTo>
                  <a:lnTo>
                    <a:pt x="89" y="10"/>
                  </a:lnTo>
                  <a:lnTo>
                    <a:pt x="86" y="5"/>
                  </a:lnTo>
                  <a:lnTo>
                    <a:pt x="81" y="2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>
                    <a:lumMod val="75000"/>
                  </a:prstClr>
                </a:solidFill>
              </a:endParaRPr>
            </a:p>
          </p:txBody>
        </p:sp>
      </p:grpSp>
      <p:sp>
        <p:nvSpPr>
          <p:cNvPr id="56" name="Freeform 3886"/>
          <p:cNvSpPr>
            <a:spLocks noEditPoints="1"/>
          </p:cNvSpPr>
          <p:nvPr/>
        </p:nvSpPr>
        <p:spPr bwMode="auto">
          <a:xfrm>
            <a:off x="3638326" y="4243938"/>
            <a:ext cx="370899" cy="368849"/>
          </a:xfrm>
          <a:custGeom>
            <a:avLst/>
            <a:gdLst>
              <a:gd name="T0" fmla="*/ 268 w 902"/>
              <a:gd name="T1" fmla="*/ 575 h 901"/>
              <a:gd name="T2" fmla="*/ 207 w 902"/>
              <a:gd name="T3" fmla="*/ 555 h 901"/>
              <a:gd name="T4" fmla="*/ 155 w 902"/>
              <a:gd name="T5" fmla="*/ 520 h 901"/>
              <a:gd name="T6" fmla="*/ 112 w 902"/>
              <a:gd name="T7" fmla="*/ 475 h 901"/>
              <a:gd name="T8" fmla="*/ 81 w 902"/>
              <a:gd name="T9" fmla="*/ 422 h 901"/>
              <a:gd name="T10" fmla="*/ 64 w 902"/>
              <a:gd name="T11" fmla="*/ 360 h 901"/>
              <a:gd name="T12" fmla="*/ 61 w 902"/>
              <a:gd name="T13" fmla="*/ 294 h 901"/>
              <a:gd name="T14" fmla="*/ 76 w 902"/>
              <a:gd name="T15" fmla="*/ 231 h 901"/>
              <a:gd name="T16" fmla="*/ 104 w 902"/>
              <a:gd name="T17" fmla="*/ 175 h 901"/>
              <a:gd name="T18" fmla="*/ 145 w 902"/>
              <a:gd name="T19" fmla="*/ 128 h 901"/>
              <a:gd name="T20" fmla="*/ 197 w 902"/>
              <a:gd name="T21" fmla="*/ 92 h 901"/>
              <a:gd name="T22" fmla="*/ 256 w 902"/>
              <a:gd name="T23" fmla="*/ 69 h 901"/>
              <a:gd name="T24" fmla="*/ 320 w 902"/>
              <a:gd name="T25" fmla="*/ 60 h 901"/>
              <a:gd name="T26" fmla="*/ 385 w 902"/>
              <a:gd name="T27" fmla="*/ 69 h 901"/>
              <a:gd name="T28" fmla="*/ 444 w 902"/>
              <a:gd name="T29" fmla="*/ 92 h 901"/>
              <a:gd name="T30" fmla="*/ 495 w 902"/>
              <a:gd name="T31" fmla="*/ 128 h 901"/>
              <a:gd name="T32" fmla="*/ 537 w 902"/>
              <a:gd name="T33" fmla="*/ 175 h 901"/>
              <a:gd name="T34" fmla="*/ 564 w 902"/>
              <a:gd name="T35" fmla="*/ 231 h 901"/>
              <a:gd name="T36" fmla="*/ 579 w 902"/>
              <a:gd name="T37" fmla="*/ 294 h 901"/>
              <a:gd name="T38" fmla="*/ 577 w 902"/>
              <a:gd name="T39" fmla="*/ 360 h 901"/>
              <a:gd name="T40" fmla="*/ 560 w 902"/>
              <a:gd name="T41" fmla="*/ 422 h 901"/>
              <a:gd name="T42" fmla="*/ 529 w 902"/>
              <a:gd name="T43" fmla="*/ 475 h 901"/>
              <a:gd name="T44" fmla="*/ 486 w 902"/>
              <a:gd name="T45" fmla="*/ 520 h 901"/>
              <a:gd name="T46" fmla="*/ 432 w 902"/>
              <a:gd name="T47" fmla="*/ 555 h 901"/>
              <a:gd name="T48" fmla="*/ 372 w 902"/>
              <a:gd name="T49" fmla="*/ 575 h 901"/>
              <a:gd name="T50" fmla="*/ 320 w 902"/>
              <a:gd name="T51" fmla="*/ 580 h 901"/>
              <a:gd name="T52" fmla="*/ 591 w 902"/>
              <a:gd name="T53" fmla="*/ 491 h 901"/>
              <a:gd name="T54" fmla="*/ 621 w 902"/>
              <a:gd name="T55" fmla="*/ 430 h 901"/>
              <a:gd name="T56" fmla="*/ 637 w 902"/>
              <a:gd name="T57" fmla="*/ 363 h 901"/>
              <a:gd name="T58" fmla="*/ 638 w 902"/>
              <a:gd name="T59" fmla="*/ 288 h 901"/>
              <a:gd name="T60" fmla="*/ 621 w 902"/>
              <a:gd name="T61" fmla="*/ 211 h 901"/>
              <a:gd name="T62" fmla="*/ 586 w 902"/>
              <a:gd name="T63" fmla="*/ 142 h 901"/>
              <a:gd name="T64" fmla="*/ 535 w 902"/>
              <a:gd name="T65" fmla="*/ 83 h 901"/>
              <a:gd name="T66" fmla="*/ 473 w 902"/>
              <a:gd name="T67" fmla="*/ 39 h 901"/>
              <a:gd name="T68" fmla="*/ 400 w 902"/>
              <a:gd name="T69" fmla="*/ 10 h 901"/>
              <a:gd name="T70" fmla="*/ 320 w 902"/>
              <a:gd name="T71" fmla="*/ 0 h 901"/>
              <a:gd name="T72" fmla="*/ 241 w 902"/>
              <a:gd name="T73" fmla="*/ 10 h 901"/>
              <a:gd name="T74" fmla="*/ 168 w 902"/>
              <a:gd name="T75" fmla="*/ 39 h 901"/>
              <a:gd name="T76" fmla="*/ 105 w 902"/>
              <a:gd name="T77" fmla="*/ 83 h 901"/>
              <a:gd name="T78" fmla="*/ 55 w 902"/>
              <a:gd name="T79" fmla="*/ 142 h 901"/>
              <a:gd name="T80" fmla="*/ 20 w 902"/>
              <a:gd name="T81" fmla="*/ 211 h 901"/>
              <a:gd name="T82" fmla="*/ 1 w 902"/>
              <a:gd name="T83" fmla="*/ 288 h 901"/>
              <a:gd name="T84" fmla="*/ 3 w 902"/>
              <a:gd name="T85" fmla="*/ 369 h 901"/>
              <a:gd name="T86" fmla="*/ 25 w 902"/>
              <a:gd name="T87" fmla="*/ 445 h 901"/>
              <a:gd name="T88" fmla="*/ 64 w 902"/>
              <a:gd name="T89" fmla="*/ 512 h 901"/>
              <a:gd name="T90" fmla="*/ 117 w 902"/>
              <a:gd name="T91" fmla="*/ 568 h 901"/>
              <a:gd name="T92" fmla="*/ 182 w 902"/>
              <a:gd name="T93" fmla="*/ 608 h 901"/>
              <a:gd name="T94" fmla="*/ 256 w 902"/>
              <a:gd name="T95" fmla="*/ 634 h 901"/>
              <a:gd name="T96" fmla="*/ 335 w 902"/>
              <a:gd name="T97" fmla="*/ 641 h 901"/>
              <a:gd name="T98" fmla="*/ 405 w 902"/>
              <a:gd name="T99" fmla="*/ 630 h 901"/>
              <a:gd name="T100" fmla="*/ 468 w 902"/>
              <a:gd name="T101" fmla="*/ 604 h 901"/>
              <a:gd name="T102" fmla="*/ 525 w 902"/>
              <a:gd name="T103" fmla="*/ 567 h 901"/>
              <a:gd name="T104" fmla="*/ 871 w 902"/>
              <a:gd name="T105" fmla="*/ 901 h 901"/>
              <a:gd name="T106" fmla="*/ 897 w 902"/>
              <a:gd name="T107" fmla="*/ 888 h 901"/>
              <a:gd name="T108" fmla="*/ 899 w 902"/>
              <a:gd name="T109" fmla="*/ 860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2" h="901">
                <a:moveTo>
                  <a:pt x="320" y="580"/>
                </a:moveTo>
                <a:lnTo>
                  <a:pt x="307" y="580"/>
                </a:lnTo>
                <a:lnTo>
                  <a:pt x="294" y="579"/>
                </a:lnTo>
                <a:lnTo>
                  <a:pt x="281" y="577"/>
                </a:lnTo>
                <a:lnTo>
                  <a:pt x="268" y="575"/>
                </a:lnTo>
                <a:lnTo>
                  <a:pt x="256" y="572"/>
                </a:lnTo>
                <a:lnTo>
                  <a:pt x="243" y="569"/>
                </a:lnTo>
                <a:lnTo>
                  <a:pt x="231" y="564"/>
                </a:lnTo>
                <a:lnTo>
                  <a:pt x="219" y="560"/>
                </a:lnTo>
                <a:lnTo>
                  <a:pt x="207" y="555"/>
                </a:lnTo>
                <a:lnTo>
                  <a:pt x="197" y="549"/>
                </a:lnTo>
                <a:lnTo>
                  <a:pt x="186" y="543"/>
                </a:lnTo>
                <a:lnTo>
                  <a:pt x="175" y="535"/>
                </a:lnTo>
                <a:lnTo>
                  <a:pt x="164" y="529"/>
                </a:lnTo>
                <a:lnTo>
                  <a:pt x="155" y="520"/>
                </a:lnTo>
                <a:lnTo>
                  <a:pt x="145" y="513"/>
                </a:lnTo>
                <a:lnTo>
                  <a:pt x="136" y="504"/>
                </a:lnTo>
                <a:lnTo>
                  <a:pt x="128" y="495"/>
                </a:lnTo>
                <a:lnTo>
                  <a:pt x="119" y="486"/>
                </a:lnTo>
                <a:lnTo>
                  <a:pt x="112" y="475"/>
                </a:lnTo>
                <a:lnTo>
                  <a:pt x="104" y="466"/>
                </a:lnTo>
                <a:lnTo>
                  <a:pt x="98" y="455"/>
                </a:lnTo>
                <a:lnTo>
                  <a:pt x="91" y="444"/>
                </a:lnTo>
                <a:lnTo>
                  <a:pt x="86" y="432"/>
                </a:lnTo>
                <a:lnTo>
                  <a:pt x="81" y="422"/>
                </a:lnTo>
                <a:lnTo>
                  <a:pt x="76" y="410"/>
                </a:lnTo>
                <a:lnTo>
                  <a:pt x="72" y="397"/>
                </a:lnTo>
                <a:lnTo>
                  <a:pt x="69" y="385"/>
                </a:lnTo>
                <a:lnTo>
                  <a:pt x="66" y="372"/>
                </a:lnTo>
                <a:lnTo>
                  <a:pt x="64" y="360"/>
                </a:lnTo>
                <a:lnTo>
                  <a:pt x="61" y="347"/>
                </a:lnTo>
                <a:lnTo>
                  <a:pt x="60" y="334"/>
                </a:lnTo>
                <a:lnTo>
                  <a:pt x="60" y="320"/>
                </a:lnTo>
                <a:lnTo>
                  <a:pt x="60" y="307"/>
                </a:lnTo>
                <a:lnTo>
                  <a:pt x="61" y="294"/>
                </a:lnTo>
                <a:lnTo>
                  <a:pt x="64" y="281"/>
                </a:lnTo>
                <a:lnTo>
                  <a:pt x="66" y="268"/>
                </a:lnTo>
                <a:lnTo>
                  <a:pt x="69" y="256"/>
                </a:lnTo>
                <a:lnTo>
                  <a:pt x="72" y="243"/>
                </a:lnTo>
                <a:lnTo>
                  <a:pt x="76" y="231"/>
                </a:lnTo>
                <a:lnTo>
                  <a:pt x="81" y="219"/>
                </a:lnTo>
                <a:lnTo>
                  <a:pt x="86" y="207"/>
                </a:lnTo>
                <a:lnTo>
                  <a:pt x="91" y="197"/>
                </a:lnTo>
                <a:lnTo>
                  <a:pt x="98" y="186"/>
                </a:lnTo>
                <a:lnTo>
                  <a:pt x="104" y="175"/>
                </a:lnTo>
                <a:lnTo>
                  <a:pt x="112" y="164"/>
                </a:lnTo>
                <a:lnTo>
                  <a:pt x="119" y="155"/>
                </a:lnTo>
                <a:lnTo>
                  <a:pt x="128" y="145"/>
                </a:lnTo>
                <a:lnTo>
                  <a:pt x="136" y="137"/>
                </a:lnTo>
                <a:lnTo>
                  <a:pt x="145" y="128"/>
                </a:lnTo>
                <a:lnTo>
                  <a:pt x="155" y="119"/>
                </a:lnTo>
                <a:lnTo>
                  <a:pt x="164" y="112"/>
                </a:lnTo>
                <a:lnTo>
                  <a:pt x="175" y="104"/>
                </a:lnTo>
                <a:lnTo>
                  <a:pt x="186" y="98"/>
                </a:lnTo>
                <a:lnTo>
                  <a:pt x="197" y="92"/>
                </a:lnTo>
                <a:lnTo>
                  <a:pt x="207" y="86"/>
                </a:lnTo>
                <a:lnTo>
                  <a:pt x="219" y="81"/>
                </a:lnTo>
                <a:lnTo>
                  <a:pt x="231" y="77"/>
                </a:lnTo>
                <a:lnTo>
                  <a:pt x="243" y="72"/>
                </a:lnTo>
                <a:lnTo>
                  <a:pt x="256" y="69"/>
                </a:lnTo>
                <a:lnTo>
                  <a:pt x="268" y="66"/>
                </a:lnTo>
                <a:lnTo>
                  <a:pt x="281" y="64"/>
                </a:lnTo>
                <a:lnTo>
                  <a:pt x="294" y="61"/>
                </a:lnTo>
                <a:lnTo>
                  <a:pt x="307" y="60"/>
                </a:lnTo>
                <a:lnTo>
                  <a:pt x="320" y="60"/>
                </a:lnTo>
                <a:lnTo>
                  <a:pt x="334" y="60"/>
                </a:lnTo>
                <a:lnTo>
                  <a:pt x="347" y="61"/>
                </a:lnTo>
                <a:lnTo>
                  <a:pt x="360" y="64"/>
                </a:lnTo>
                <a:lnTo>
                  <a:pt x="372" y="66"/>
                </a:lnTo>
                <a:lnTo>
                  <a:pt x="385" y="69"/>
                </a:lnTo>
                <a:lnTo>
                  <a:pt x="397" y="72"/>
                </a:lnTo>
                <a:lnTo>
                  <a:pt x="410" y="77"/>
                </a:lnTo>
                <a:lnTo>
                  <a:pt x="422" y="81"/>
                </a:lnTo>
                <a:lnTo>
                  <a:pt x="432" y="86"/>
                </a:lnTo>
                <a:lnTo>
                  <a:pt x="444" y="92"/>
                </a:lnTo>
                <a:lnTo>
                  <a:pt x="455" y="98"/>
                </a:lnTo>
                <a:lnTo>
                  <a:pt x="466" y="104"/>
                </a:lnTo>
                <a:lnTo>
                  <a:pt x="475" y="112"/>
                </a:lnTo>
                <a:lnTo>
                  <a:pt x="486" y="119"/>
                </a:lnTo>
                <a:lnTo>
                  <a:pt x="495" y="128"/>
                </a:lnTo>
                <a:lnTo>
                  <a:pt x="504" y="137"/>
                </a:lnTo>
                <a:lnTo>
                  <a:pt x="513" y="145"/>
                </a:lnTo>
                <a:lnTo>
                  <a:pt x="522" y="155"/>
                </a:lnTo>
                <a:lnTo>
                  <a:pt x="529" y="164"/>
                </a:lnTo>
                <a:lnTo>
                  <a:pt x="537" y="175"/>
                </a:lnTo>
                <a:lnTo>
                  <a:pt x="543" y="186"/>
                </a:lnTo>
                <a:lnTo>
                  <a:pt x="549" y="197"/>
                </a:lnTo>
                <a:lnTo>
                  <a:pt x="555" y="207"/>
                </a:lnTo>
                <a:lnTo>
                  <a:pt x="560" y="219"/>
                </a:lnTo>
                <a:lnTo>
                  <a:pt x="564" y="231"/>
                </a:lnTo>
                <a:lnTo>
                  <a:pt x="569" y="243"/>
                </a:lnTo>
                <a:lnTo>
                  <a:pt x="572" y="256"/>
                </a:lnTo>
                <a:lnTo>
                  <a:pt x="575" y="268"/>
                </a:lnTo>
                <a:lnTo>
                  <a:pt x="577" y="281"/>
                </a:lnTo>
                <a:lnTo>
                  <a:pt x="579" y="294"/>
                </a:lnTo>
                <a:lnTo>
                  <a:pt x="580" y="307"/>
                </a:lnTo>
                <a:lnTo>
                  <a:pt x="580" y="320"/>
                </a:lnTo>
                <a:lnTo>
                  <a:pt x="580" y="334"/>
                </a:lnTo>
                <a:lnTo>
                  <a:pt x="579" y="347"/>
                </a:lnTo>
                <a:lnTo>
                  <a:pt x="577" y="360"/>
                </a:lnTo>
                <a:lnTo>
                  <a:pt x="575" y="372"/>
                </a:lnTo>
                <a:lnTo>
                  <a:pt x="572" y="385"/>
                </a:lnTo>
                <a:lnTo>
                  <a:pt x="569" y="397"/>
                </a:lnTo>
                <a:lnTo>
                  <a:pt x="564" y="410"/>
                </a:lnTo>
                <a:lnTo>
                  <a:pt x="560" y="422"/>
                </a:lnTo>
                <a:lnTo>
                  <a:pt x="555" y="432"/>
                </a:lnTo>
                <a:lnTo>
                  <a:pt x="549" y="444"/>
                </a:lnTo>
                <a:lnTo>
                  <a:pt x="543" y="455"/>
                </a:lnTo>
                <a:lnTo>
                  <a:pt x="537" y="466"/>
                </a:lnTo>
                <a:lnTo>
                  <a:pt x="529" y="475"/>
                </a:lnTo>
                <a:lnTo>
                  <a:pt x="522" y="486"/>
                </a:lnTo>
                <a:lnTo>
                  <a:pt x="513" y="495"/>
                </a:lnTo>
                <a:lnTo>
                  <a:pt x="504" y="504"/>
                </a:lnTo>
                <a:lnTo>
                  <a:pt x="495" y="513"/>
                </a:lnTo>
                <a:lnTo>
                  <a:pt x="486" y="520"/>
                </a:lnTo>
                <a:lnTo>
                  <a:pt x="475" y="529"/>
                </a:lnTo>
                <a:lnTo>
                  <a:pt x="466" y="535"/>
                </a:lnTo>
                <a:lnTo>
                  <a:pt x="455" y="543"/>
                </a:lnTo>
                <a:lnTo>
                  <a:pt x="444" y="549"/>
                </a:lnTo>
                <a:lnTo>
                  <a:pt x="432" y="555"/>
                </a:lnTo>
                <a:lnTo>
                  <a:pt x="422" y="560"/>
                </a:lnTo>
                <a:lnTo>
                  <a:pt x="410" y="564"/>
                </a:lnTo>
                <a:lnTo>
                  <a:pt x="397" y="569"/>
                </a:lnTo>
                <a:lnTo>
                  <a:pt x="385" y="572"/>
                </a:lnTo>
                <a:lnTo>
                  <a:pt x="372" y="575"/>
                </a:lnTo>
                <a:lnTo>
                  <a:pt x="360" y="577"/>
                </a:lnTo>
                <a:lnTo>
                  <a:pt x="347" y="579"/>
                </a:lnTo>
                <a:lnTo>
                  <a:pt x="334" y="580"/>
                </a:lnTo>
                <a:lnTo>
                  <a:pt x="320" y="580"/>
                </a:lnTo>
                <a:lnTo>
                  <a:pt x="320" y="580"/>
                </a:lnTo>
                <a:close/>
                <a:moveTo>
                  <a:pt x="893" y="851"/>
                </a:moveTo>
                <a:lnTo>
                  <a:pt x="567" y="525"/>
                </a:lnTo>
                <a:lnTo>
                  <a:pt x="575" y="514"/>
                </a:lnTo>
                <a:lnTo>
                  <a:pt x="584" y="503"/>
                </a:lnTo>
                <a:lnTo>
                  <a:pt x="591" y="491"/>
                </a:lnTo>
                <a:lnTo>
                  <a:pt x="598" y="480"/>
                </a:lnTo>
                <a:lnTo>
                  <a:pt x="604" y="468"/>
                </a:lnTo>
                <a:lnTo>
                  <a:pt x="611" y="456"/>
                </a:lnTo>
                <a:lnTo>
                  <a:pt x="616" y="443"/>
                </a:lnTo>
                <a:lnTo>
                  <a:pt x="621" y="430"/>
                </a:lnTo>
                <a:lnTo>
                  <a:pt x="626" y="417"/>
                </a:lnTo>
                <a:lnTo>
                  <a:pt x="630" y="405"/>
                </a:lnTo>
                <a:lnTo>
                  <a:pt x="633" y="391"/>
                </a:lnTo>
                <a:lnTo>
                  <a:pt x="635" y="377"/>
                </a:lnTo>
                <a:lnTo>
                  <a:pt x="637" y="363"/>
                </a:lnTo>
                <a:lnTo>
                  <a:pt x="639" y="349"/>
                </a:lnTo>
                <a:lnTo>
                  <a:pt x="641" y="335"/>
                </a:lnTo>
                <a:lnTo>
                  <a:pt x="641" y="320"/>
                </a:lnTo>
                <a:lnTo>
                  <a:pt x="641" y="304"/>
                </a:lnTo>
                <a:lnTo>
                  <a:pt x="638" y="288"/>
                </a:lnTo>
                <a:lnTo>
                  <a:pt x="637" y="272"/>
                </a:lnTo>
                <a:lnTo>
                  <a:pt x="634" y="256"/>
                </a:lnTo>
                <a:lnTo>
                  <a:pt x="631" y="241"/>
                </a:lnTo>
                <a:lnTo>
                  <a:pt x="627" y="226"/>
                </a:lnTo>
                <a:lnTo>
                  <a:pt x="621" y="211"/>
                </a:lnTo>
                <a:lnTo>
                  <a:pt x="616" y="196"/>
                </a:lnTo>
                <a:lnTo>
                  <a:pt x="609" y="182"/>
                </a:lnTo>
                <a:lnTo>
                  <a:pt x="602" y="168"/>
                </a:lnTo>
                <a:lnTo>
                  <a:pt x="594" y="155"/>
                </a:lnTo>
                <a:lnTo>
                  <a:pt x="586" y="142"/>
                </a:lnTo>
                <a:lnTo>
                  <a:pt x="577" y="129"/>
                </a:lnTo>
                <a:lnTo>
                  <a:pt x="568" y="117"/>
                </a:lnTo>
                <a:lnTo>
                  <a:pt x="557" y="105"/>
                </a:lnTo>
                <a:lnTo>
                  <a:pt x="546" y="94"/>
                </a:lnTo>
                <a:lnTo>
                  <a:pt x="535" y="83"/>
                </a:lnTo>
                <a:lnTo>
                  <a:pt x="524" y="73"/>
                </a:lnTo>
                <a:lnTo>
                  <a:pt x="512" y="64"/>
                </a:lnTo>
                <a:lnTo>
                  <a:pt x="499" y="55"/>
                </a:lnTo>
                <a:lnTo>
                  <a:pt x="486" y="46"/>
                </a:lnTo>
                <a:lnTo>
                  <a:pt x="473" y="39"/>
                </a:lnTo>
                <a:lnTo>
                  <a:pt x="459" y="31"/>
                </a:lnTo>
                <a:lnTo>
                  <a:pt x="445" y="25"/>
                </a:lnTo>
                <a:lnTo>
                  <a:pt x="430" y="20"/>
                </a:lnTo>
                <a:lnTo>
                  <a:pt x="415" y="14"/>
                </a:lnTo>
                <a:lnTo>
                  <a:pt x="400" y="10"/>
                </a:lnTo>
                <a:lnTo>
                  <a:pt x="385" y="7"/>
                </a:lnTo>
                <a:lnTo>
                  <a:pt x="369" y="4"/>
                </a:lnTo>
                <a:lnTo>
                  <a:pt x="353" y="1"/>
                </a:lnTo>
                <a:lnTo>
                  <a:pt x="337" y="0"/>
                </a:lnTo>
                <a:lnTo>
                  <a:pt x="320" y="0"/>
                </a:lnTo>
                <a:lnTo>
                  <a:pt x="304" y="0"/>
                </a:lnTo>
                <a:lnTo>
                  <a:pt x="288" y="1"/>
                </a:lnTo>
                <a:lnTo>
                  <a:pt x="272" y="4"/>
                </a:lnTo>
                <a:lnTo>
                  <a:pt x="256" y="7"/>
                </a:lnTo>
                <a:lnTo>
                  <a:pt x="241" y="10"/>
                </a:lnTo>
                <a:lnTo>
                  <a:pt x="225" y="14"/>
                </a:lnTo>
                <a:lnTo>
                  <a:pt x="210" y="20"/>
                </a:lnTo>
                <a:lnTo>
                  <a:pt x="195" y="25"/>
                </a:lnTo>
                <a:lnTo>
                  <a:pt x="182" y="31"/>
                </a:lnTo>
                <a:lnTo>
                  <a:pt x="168" y="39"/>
                </a:lnTo>
                <a:lnTo>
                  <a:pt x="155" y="46"/>
                </a:lnTo>
                <a:lnTo>
                  <a:pt x="142" y="55"/>
                </a:lnTo>
                <a:lnTo>
                  <a:pt x="129" y="64"/>
                </a:lnTo>
                <a:lnTo>
                  <a:pt x="117" y="73"/>
                </a:lnTo>
                <a:lnTo>
                  <a:pt x="105" y="83"/>
                </a:lnTo>
                <a:lnTo>
                  <a:pt x="94" y="94"/>
                </a:lnTo>
                <a:lnTo>
                  <a:pt x="84" y="105"/>
                </a:lnTo>
                <a:lnTo>
                  <a:pt x="73" y="117"/>
                </a:lnTo>
                <a:lnTo>
                  <a:pt x="64" y="129"/>
                </a:lnTo>
                <a:lnTo>
                  <a:pt x="55" y="142"/>
                </a:lnTo>
                <a:lnTo>
                  <a:pt x="46" y="155"/>
                </a:lnTo>
                <a:lnTo>
                  <a:pt x="39" y="168"/>
                </a:lnTo>
                <a:lnTo>
                  <a:pt x="31" y="182"/>
                </a:lnTo>
                <a:lnTo>
                  <a:pt x="25" y="196"/>
                </a:lnTo>
                <a:lnTo>
                  <a:pt x="20" y="211"/>
                </a:lnTo>
                <a:lnTo>
                  <a:pt x="14" y="226"/>
                </a:lnTo>
                <a:lnTo>
                  <a:pt x="10" y="241"/>
                </a:lnTo>
                <a:lnTo>
                  <a:pt x="7" y="256"/>
                </a:lnTo>
                <a:lnTo>
                  <a:pt x="3" y="272"/>
                </a:lnTo>
                <a:lnTo>
                  <a:pt x="1" y="288"/>
                </a:lnTo>
                <a:lnTo>
                  <a:pt x="0" y="304"/>
                </a:lnTo>
                <a:lnTo>
                  <a:pt x="0" y="320"/>
                </a:lnTo>
                <a:lnTo>
                  <a:pt x="0" y="337"/>
                </a:lnTo>
                <a:lnTo>
                  <a:pt x="1" y="353"/>
                </a:lnTo>
                <a:lnTo>
                  <a:pt x="3" y="369"/>
                </a:lnTo>
                <a:lnTo>
                  <a:pt x="7" y="385"/>
                </a:lnTo>
                <a:lnTo>
                  <a:pt x="10" y="400"/>
                </a:lnTo>
                <a:lnTo>
                  <a:pt x="14" y="415"/>
                </a:lnTo>
                <a:lnTo>
                  <a:pt x="20" y="430"/>
                </a:lnTo>
                <a:lnTo>
                  <a:pt x="25" y="445"/>
                </a:lnTo>
                <a:lnTo>
                  <a:pt x="31" y="459"/>
                </a:lnTo>
                <a:lnTo>
                  <a:pt x="39" y="473"/>
                </a:lnTo>
                <a:lnTo>
                  <a:pt x="46" y="486"/>
                </a:lnTo>
                <a:lnTo>
                  <a:pt x="55" y="499"/>
                </a:lnTo>
                <a:lnTo>
                  <a:pt x="64" y="512"/>
                </a:lnTo>
                <a:lnTo>
                  <a:pt x="73" y="524"/>
                </a:lnTo>
                <a:lnTo>
                  <a:pt x="84" y="535"/>
                </a:lnTo>
                <a:lnTo>
                  <a:pt x="94" y="546"/>
                </a:lnTo>
                <a:lnTo>
                  <a:pt x="105" y="557"/>
                </a:lnTo>
                <a:lnTo>
                  <a:pt x="117" y="568"/>
                </a:lnTo>
                <a:lnTo>
                  <a:pt x="129" y="577"/>
                </a:lnTo>
                <a:lnTo>
                  <a:pt x="142" y="586"/>
                </a:lnTo>
                <a:lnTo>
                  <a:pt x="155" y="594"/>
                </a:lnTo>
                <a:lnTo>
                  <a:pt x="168" y="602"/>
                </a:lnTo>
                <a:lnTo>
                  <a:pt x="182" y="608"/>
                </a:lnTo>
                <a:lnTo>
                  <a:pt x="195" y="615"/>
                </a:lnTo>
                <a:lnTo>
                  <a:pt x="210" y="621"/>
                </a:lnTo>
                <a:lnTo>
                  <a:pt x="225" y="627"/>
                </a:lnTo>
                <a:lnTo>
                  <a:pt x="241" y="631"/>
                </a:lnTo>
                <a:lnTo>
                  <a:pt x="256" y="634"/>
                </a:lnTo>
                <a:lnTo>
                  <a:pt x="272" y="637"/>
                </a:lnTo>
                <a:lnTo>
                  <a:pt x="288" y="638"/>
                </a:lnTo>
                <a:lnTo>
                  <a:pt x="304" y="641"/>
                </a:lnTo>
                <a:lnTo>
                  <a:pt x="320" y="641"/>
                </a:lnTo>
                <a:lnTo>
                  <a:pt x="335" y="641"/>
                </a:lnTo>
                <a:lnTo>
                  <a:pt x="349" y="639"/>
                </a:lnTo>
                <a:lnTo>
                  <a:pt x="363" y="637"/>
                </a:lnTo>
                <a:lnTo>
                  <a:pt x="377" y="635"/>
                </a:lnTo>
                <a:lnTo>
                  <a:pt x="391" y="633"/>
                </a:lnTo>
                <a:lnTo>
                  <a:pt x="405" y="630"/>
                </a:lnTo>
                <a:lnTo>
                  <a:pt x="417" y="625"/>
                </a:lnTo>
                <a:lnTo>
                  <a:pt x="430" y="621"/>
                </a:lnTo>
                <a:lnTo>
                  <a:pt x="443" y="616"/>
                </a:lnTo>
                <a:lnTo>
                  <a:pt x="456" y="610"/>
                </a:lnTo>
                <a:lnTo>
                  <a:pt x="468" y="604"/>
                </a:lnTo>
                <a:lnTo>
                  <a:pt x="480" y="598"/>
                </a:lnTo>
                <a:lnTo>
                  <a:pt x="491" y="591"/>
                </a:lnTo>
                <a:lnTo>
                  <a:pt x="503" y="584"/>
                </a:lnTo>
                <a:lnTo>
                  <a:pt x="514" y="575"/>
                </a:lnTo>
                <a:lnTo>
                  <a:pt x="525" y="567"/>
                </a:lnTo>
                <a:lnTo>
                  <a:pt x="851" y="892"/>
                </a:lnTo>
                <a:lnTo>
                  <a:pt x="855" y="897"/>
                </a:lnTo>
                <a:lnTo>
                  <a:pt x="860" y="899"/>
                </a:lnTo>
                <a:lnTo>
                  <a:pt x="866" y="901"/>
                </a:lnTo>
                <a:lnTo>
                  <a:pt x="871" y="901"/>
                </a:lnTo>
                <a:lnTo>
                  <a:pt x="878" y="901"/>
                </a:lnTo>
                <a:lnTo>
                  <a:pt x="883" y="899"/>
                </a:lnTo>
                <a:lnTo>
                  <a:pt x="888" y="897"/>
                </a:lnTo>
                <a:lnTo>
                  <a:pt x="893" y="892"/>
                </a:lnTo>
                <a:lnTo>
                  <a:pt x="897" y="888"/>
                </a:lnTo>
                <a:lnTo>
                  <a:pt x="899" y="883"/>
                </a:lnTo>
                <a:lnTo>
                  <a:pt x="901" y="877"/>
                </a:lnTo>
                <a:lnTo>
                  <a:pt x="902" y="871"/>
                </a:lnTo>
                <a:lnTo>
                  <a:pt x="901" y="866"/>
                </a:lnTo>
                <a:lnTo>
                  <a:pt x="899" y="860"/>
                </a:lnTo>
                <a:lnTo>
                  <a:pt x="897" y="855"/>
                </a:lnTo>
                <a:lnTo>
                  <a:pt x="893" y="851"/>
                </a:lnTo>
                <a:close/>
              </a:path>
            </a:pathLst>
          </a:custGeom>
          <a:solidFill>
            <a:srgbClr val="B0F7F4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57" name="Group 56"/>
          <p:cNvGrpSpPr/>
          <p:nvPr/>
        </p:nvGrpSpPr>
        <p:grpSpPr>
          <a:xfrm>
            <a:off x="6446739" y="4242775"/>
            <a:ext cx="330646" cy="381192"/>
            <a:chOff x="896938" y="1943100"/>
            <a:chExt cx="249237" cy="287338"/>
          </a:xfrm>
          <a:solidFill>
            <a:srgbClr val="B0F7F4"/>
          </a:solidFill>
          <a:effectLst/>
        </p:grpSpPr>
        <p:sp>
          <p:nvSpPr>
            <p:cNvPr id="58" name="Freeform 1088"/>
            <p:cNvSpPr>
              <a:spLocks noEditPoints="1"/>
            </p:cNvSpPr>
            <p:nvPr/>
          </p:nvSpPr>
          <p:spPr bwMode="auto">
            <a:xfrm>
              <a:off x="965200" y="1943100"/>
              <a:ext cx="180975" cy="249238"/>
            </a:xfrm>
            <a:custGeom>
              <a:avLst/>
              <a:gdLst>
                <a:gd name="T0" fmla="*/ 301 w 457"/>
                <a:gd name="T1" fmla="*/ 156 h 626"/>
                <a:gd name="T2" fmla="*/ 301 w 457"/>
                <a:gd name="T3" fmla="*/ 12 h 626"/>
                <a:gd name="T4" fmla="*/ 446 w 457"/>
                <a:gd name="T5" fmla="*/ 156 h 626"/>
                <a:gd name="T6" fmla="*/ 301 w 457"/>
                <a:gd name="T7" fmla="*/ 156 h 626"/>
                <a:gd name="T8" fmla="*/ 454 w 457"/>
                <a:gd name="T9" fmla="*/ 148 h 626"/>
                <a:gd name="T10" fmla="*/ 309 w 457"/>
                <a:gd name="T11" fmla="*/ 3 h 626"/>
                <a:gd name="T12" fmla="*/ 305 w 457"/>
                <a:gd name="T13" fmla="*/ 1 h 626"/>
                <a:gd name="T14" fmla="*/ 301 w 457"/>
                <a:gd name="T15" fmla="*/ 0 h 626"/>
                <a:gd name="T16" fmla="*/ 12 w 457"/>
                <a:gd name="T17" fmla="*/ 0 h 626"/>
                <a:gd name="T18" fmla="*/ 7 w 457"/>
                <a:gd name="T19" fmla="*/ 1 h 626"/>
                <a:gd name="T20" fmla="*/ 3 w 457"/>
                <a:gd name="T21" fmla="*/ 4 h 626"/>
                <a:gd name="T22" fmla="*/ 1 w 457"/>
                <a:gd name="T23" fmla="*/ 7 h 626"/>
                <a:gd name="T24" fmla="*/ 0 w 457"/>
                <a:gd name="T25" fmla="*/ 12 h 626"/>
                <a:gd name="T26" fmla="*/ 0 w 457"/>
                <a:gd name="T27" fmla="*/ 72 h 626"/>
                <a:gd name="T28" fmla="*/ 118 w 457"/>
                <a:gd name="T29" fmla="*/ 72 h 626"/>
                <a:gd name="T30" fmla="*/ 122 w 457"/>
                <a:gd name="T31" fmla="*/ 74 h 626"/>
                <a:gd name="T32" fmla="*/ 127 w 457"/>
                <a:gd name="T33" fmla="*/ 76 h 626"/>
                <a:gd name="T34" fmla="*/ 286 w 457"/>
                <a:gd name="T35" fmla="*/ 235 h 626"/>
                <a:gd name="T36" fmla="*/ 288 w 457"/>
                <a:gd name="T37" fmla="*/ 239 h 626"/>
                <a:gd name="T38" fmla="*/ 289 w 457"/>
                <a:gd name="T39" fmla="*/ 244 h 626"/>
                <a:gd name="T40" fmla="*/ 289 w 457"/>
                <a:gd name="T41" fmla="*/ 626 h 626"/>
                <a:gd name="T42" fmla="*/ 446 w 457"/>
                <a:gd name="T43" fmla="*/ 626 h 626"/>
                <a:gd name="T44" fmla="*/ 450 w 457"/>
                <a:gd name="T45" fmla="*/ 625 h 626"/>
                <a:gd name="T46" fmla="*/ 454 w 457"/>
                <a:gd name="T47" fmla="*/ 623 h 626"/>
                <a:gd name="T48" fmla="*/ 457 w 457"/>
                <a:gd name="T49" fmla="*/ 619 h 626"/>
                <a:gd name="T50" fmla="*/ 457 w 457"/>
                <a:gd name="T51" fmla="*/ 614 h 626"/>
                <a:gd name="T52" fmla="*/ 457 w 457"/>
                <a:gd name="T53" fmla="*/ 156 h 626"/>
                <a:gd name="T54" fmla="*/ 457 w 457"/>
                <a:gd name="T55" fmla="*/ 152 h 626"/>
                <a:gd name="T56" fmla="*/ 454 w 457"/>
                <a:gd name="T57" fmla="*/ 148 h 6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57" h="626">
                  <a:moveTo>
                    <a:pt x="301" y="156"/>
                  </a:moveTo>
                  <a:lnTo>
                    <a:pt x="301" y="12"/>
                  </a:lnTo>
                  <a:lnTo>
                    <a:pt x="446" y="156"/>
                  </a:lnTo>
                  <a:lnTo>
                    <a:pt x="301" y="156"/>
                  </a:lnTo>
                  <a:close/>
                  <a:moveTo>
                    <a:pt x="454" y="148"/>
                  </a:moveTo>
                  <a:lnTo>
                    <a:pt x="309" y="3"/>
                  </a:lnTo>
                  <a:lnTo>
                    <a:pt x="305" y="1"/>
                  </a:lnTo>
                  <a:lnTo>
                    <a:pt x="301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4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72"/>
                  </a:lnTo>
                  <a:lnTo>
                    <a:pt x="118" y="72"/>
                  </a:lnTo>
                  <a:lnTo>
                    <a:pt x="122" y="74"/>
                  </a:lnTo>
                  <a:lnTo>
                    <a:pt x="127" y="76"/>
                  </a:lnTo>
                  <a:lnTo>
                    <a:pt x="286" y="235"/>
                  </a:lnTo>
                  <a:lnTo>
                    <a:pt x="288" y="239"/>
                  </a:lnTo>
                  <a:lnTo>
                    <a:pt x="289" y="244"/>
                  </a:lnTo>
                  <a:lnTo>
                    <a:pt x="289" y="626"/>
                  </a:lnTo>
                  <a:lnTo>
                    <a:pt x="446" y="626"/>
                  </a:lnTo>
                  <a:lnTo>
                    <a:pt x="450" y="625"/>
                  </a:lnTo>
                  <a:lnTo>
                    <a:pt x="454" y="623"/>
                  </a:lnTo>
                  <a:lnTo>
                    <a:pt x="457" y="619"/>
                  </a:lnTo>
                  <a:lnTo>
                    <a:pt x="457" y="614"/>
                  </a:lnTo>
                  <a:lnTo>
                    <a:pt x="457" y="156"/>
                  </a:lnTo>
                  <a:lnTo>
                    <a:pt x="457" y="152"/>
                  </a:lnTo>
                  <a:lnTo>
                    <a:pt x="454" y="1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59" name="Freeform 1089"/>
            <p:cNvSpPr>
              <a:spLocks noEditPoints="1"/>
            </p:cNvSpPr>
            <p:nvPr/>
          </p:nvSpPr>
          <p:spPr bwMode="auto">
            <a:xfrm>
              <a:off x="896938" y="1981200"/>
              <a:ext cx="173038" cy="249238"/>
            </a:xfrm>
            <a:custGeom>
              <a:avLst/>
              <a:gdLst>
                <a:gd name="T0" fmla="*/ 277 w 434"/>
                <a:gd name="T1" fmla="*/ 157 h 627"/>
                <a:gd name="T2" fmla="*/ 277 w 434"/>
                <a:gd name="T3" fmla="*/ 12 h 627"/>
                <a:gd name="T4" fmla="*/ 422 w 434"/>
                <a:gd name="T5" fmla="*/ 157 h 627"/>
                <a:gd name="T6" fmla="*/ 277 w 434"/>
                <a:gd name="T7" fmla="*/ 157 h 627"/>
                <a:gd name="T8" fmla="*/ 277 w 434"/>
                <a:gd name="T9" fmla="*/ 0 h 627"/>
                <a:gd name="T10" fmla="*/ 12 w 434"/>
                <a:gd name="T11" fmla="*/ 0 h 627"/>
                <a:gd name="T12" fmla="*/ 8 w 434"/>
                <a:gd name="T13" fmla="*/ 1 h 627"/>
                <a:gd name="T14" fmla="*/ 4 w 434"/>
                <a:gd name="T15" fmla="*/ 4 h 627"/>
                <a:gd name="T16" fmla="*/ 1 w 434"/>
                <a:gd name="T17" fmla="*/ 8 h 627"/>
                <a:gd name="T18" fmla="*/ 0 w 434"/>
                <a:gd name="T19" fmla="*/ 12 h 627"/>
                <a:gd name="T20" fmla="*/ 0 w 434"/>
                <a:gd name="T21" fmla="*/ 615 h 627"/>
                <a:gd name="T22" fmla="*/ 1 w 434"/>
                <a:gd name="T23" fmla="*/ 620 h 627"/>
                <a:gd name="T24" fmla="*/ 4 w 434"/>
                <a:gd name="T25" fmla="*/ 623 h 627"/>
                <a:gd name="T26" fmla="*/ 8 w 434"/>
                <a:gd name="T27" fmla="*/ 626 h 627"/>
                <a:gd name="T28" fmla="*/ 12 w 434"/>
                <a:gd name="T29" fmla="*/ 627 h 627"/>
                <a:gd name="T30" fmla="*/ 422 w 434"/>
                <a:gd name="T31" fmla="*/ 627 h 627"/>
                <a:gd name="T32" fmla="*/ 426 w 434"/>
                <a:gd name="T33" fmla="*/ 626 h 627"/>
                <a:gd name="T34" fmla="*/ 430 w 434"/>
                <a:gd name="T35" fmla="*/ 623 h 627"/>
                <a:gd name="T36" fmla="*/ 433 w 434"/>
                <a:gd name="T37" fmla="*/ 620 h 627"/>
                <a:gd name="T38" fmla="*/ 434 w 434"/>
                <a:gd name="T39" fmla="*/ 615 h 627"/>
                <a:gd name="T40" fmla="*/ 434 w 434"/>
                <a:gd name="T41" fmla="*/ 157 h 627"/>
                <a:gd name="T42" fmla="*/ 434 w 434"/>
                <a:gd name="T43" fmla="*/ 152 h 627"/>
                <a:gd name="T44" fmla="*/ 282 w 434"/>
                <a:gd name="T45" fmla="*/ 0 h 627"/>
                <a:gd name="T46" fmla="*/ 277 w 434"/>
                <a:gd name="T47" fmla="*/ 0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34" h="627">
                  <a:moveTo>
                    <a:pt x="277" y="157"/>
                  </a:moveTo>
                  <a:lnTo>
                    <a:pt x="277" y="12"/>
                  </a:lnTo>
                  <a:lnTo>
                    <a:pt x="422" y="157"/>
                  </a:lnTo>
                  <a:lnTo>
                    <a:pt x="277" y="157"/>
                  </a:lnTo>
                  <a:close/>
                  <a:moveTo>
                    <a:pt x="277" y="0"/>
                  </a:moveTo>
                  <a:lnTo>
                    <a:pt x="12" y="0"/>
                  </a:lnTo>
                  <a:lnTo>
                    <a:pt x="8" y="1"/>
                  </a:lnTo>
                  <a:lnTo>
                    <a:pt x="4" y="4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615"/>
                  </a:lnTo>
                  <a:lnTo>
                    <a:pt x="1" y="620"/>
                  </a:lnTo>
                  <a:lnTo>
                    <a:pt x="4" y="623"/>
                  </a:lnTo>
                  <a:lnTo>
                    <a:pt x="8" y="626"/>
                  </a:lnTo>
                  <a:lnTo>
                    <a:pt x="12" y="627"/>
                  </a:lnTo>
                  <a:lnTo>
                    <a:pt x="422" y="627"/>
                  </a:lnTo>
                  <a:lnTo>
                    <a:pt x="426" y="626"/>
                  </a:lnTo>
                  <a:lnTo>
                    <a:pt x="430" y="623"/>
                  </a:lnTo>
                  <a:lnTo>
                    <a:pt x="433" y="620"/>
                  </a:lnTo>
                  <a:lnTo>
                    <a:pt x="434" y="615"/>
                  </a:lnTo>
                  <a:lnTo>
                    <a:pt x="434" y="157"/>
                  </a:lnTo>
                  <a:lnTo>
                    <a:pt x="434" y="152"/>
                  </a:lnTo>
                  <a:lnTo>
                    <a:pt x="282" y="0"/>
                  </a:lnTo>
                  <a:lnTo>
                    <a:pt x="27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9231533" y="4319620"/>
            <a:ext cx="347679" cy="267002"/>
            <a:chOff x="1450975" y="2559050"/>
            <a:chExt cx="287338" cy="220663"/>
          </a:xfrm>
          <a:solidFill>
            <a:srgbClr val="B0F7F4"/>
          </a:solidFill>
          <a:effectLst/>
        </p:grpSpPr>
        <p:sp>
          <p:nvSpPr>
            <p:cNvPr id="61" name="Freeform 518"/>
            <p:cNvSpPr>
              <a:spLocks/>
            </p:cNvSpPr>
            <p:nvPr/>
          </p:nvSpPr>
          <p:spPr bwMode="auto">
            <a:xfrm>
              <a:off x="1552575" y="2559050"/>
              <a:ext cx="185738" cy="187325"/>
            </a:xfrm>
            <a:custGeom>
              <a:avLst/>
              <a:gdLst>
                <a:gd name="T0" fmla="*/ 15 w 587"/>
                <a:gd name="T1" fmla="*/ 0 h 588"/>
                <a:gd name="T2" fmla="*/ 9 w 587"/>
                <a:gd name="T3" fmla="*/ 2 h 588"/>
                <a:gd name="T4" fmla="*/ 4 w 587"/>
                <a:gd name="T5" fmla="*/ 5 h 588"/>
                <a:gd name="T6" fmla="*/ 1 w 587"/>
                <a:gd name="T7" fmla="*/ 10 h 588"/>
                <a:gd name="T8" fmla="*/ 0 w 587"/>
                <a:gd name="T9" fmla="*/ 15 h 588"/>
                <a:gd name="T10" fmla="*/ 14 w 587"/>
                <a:gd name="T11" fmla="*/ 453 h 588"/>
                <a:gd name="T12" fmla="*/ 40 w 587"/>
                <a:gd name="T13" fmla="*/ 458 h 588"/>
                <a:gd name="T14" fmla="*/ 64 w 587"/>
                <a:gd name="T15" fmla="*/ 469 h 588"/>
                <a:gd name="T16" fmla="*/ 85 w 587"/>
                <a:gd name="T17" fmla="*/ 483 h 588"/>
                <a:gd name="T18" fmla="*/ 105 w 587"/>
                <a:gd name="T19" fmla="*/ 501 h 588"/>
                <a:gd name="T20" fmla="*/ 119 w 587"/>
                <a:gd name="T21" fmla="*/ 524 h 588"/>
                <a:gd name="T22" fmla="*/ 129 w 587"/>
                <a:gd name="T23" fmla="*/ 548 h 588"/>
                <a:gd name="T24" fmla="*/ 135 w 587"/>
                <a:gd name="T25" fmla="*/ 574 h 588"/>
                <a:gd name="T26" fmla="*/ 286 w 587"/>
                <a:gd name="T27" fmla="*/ 588 h 588"/>
                <a:gd name="T28" fmla="*/ 288 w 587"/>
                <a:gd name="T29" fmla="*/ 560 h 588"/>
                <a:gd name="T30" fmla="*/ 297 w 587"/>
                <a:gd name="T31" fmla="*/ 536 h 588"/>
                <a:gd name="T32" fmla="*/ 308 w 587"/>
                <a:gd name="T33" fmla="*/ 512 h 588"/>
                <a:gd name="T34" fmla="*/ 326 w 587"/>
                <a:gd name="T35" fmla="*/ 492 h 588"/>
                <a:gd name="T36" fmla="*/ 346 w 587"/>
                <a:gd name="T37" fmla="*/ 476 h 588"/>
                <a:gd name="T38" fmla="*/ 369 w 587"/>
                <a:gd name="T39" fmla="*/ 463 h 588"/>
                <a:gd name="T40" fmla="*/ 394 w 587"/>
                <a:gd name="T41" fmla="*/ 455 h 588"/>
                <a:gd name="T42" fmla="*/ 421 w 587"/>
                <a:gd name="T43" fmla="*/ 452 h 588"/>
                <a:gd name="T44" fmla="*/ 449 w 587"/>
                <a:gd name="T45" fmla="*/ 455 h 588"/>
                <a:gd name="T46" fmla="*/ 474 w 587"/>
                <a:gd name="T47" fmla="*/ 463 h 588"/>
                <a:gd name="T48" fmla="*/ 497 w 587"/>
                <a:gd name="T49" fmla="*/ 476 h 588"/>
                <a:gd name="T50" fmla="*/ 517 w 587"/>
                <a:gd name="T51" fmla="*/ 492 h 588"/>
                <a:gd name="T52" fmla="*/ 534 w 587"/>
                <a:gd name="T53" fmla="*/ 512 h 588"/>
                <a:gd name="T54" fmla="*/ 547 w 587"/>
                <a:gd name="T55" fmla="*/ 536 h 588"/>
                <a:gd name="T56" fmla="*/ 554 w 587"/>
                <a:gd name="T57" fmla="*/ 560 h 588"/>
                <a:gd name="T58" fmla="*/ 556 w 587"/>
                <a:gd name="T59" fmla="*/ 588 h 588"/>
                <a:gd name="T60" fmla="*/ 574 w 587"/>
                <a:gd name="T61" fmla="*/ 587 h 588"/>
                <a:gd name="T62" fmla="*/ 580 w 587"/>
                <a:gd name="T63" fmla="*/ 585 h 588"/>
                <a:gd name="T64" fmla="*/ 584 w 587"/>
                <a:gd name="T65" fmla="*/ 582 h 588"/>
                <a:gd name="T66" fmla="*/ 586 w 587"/>
                <a:gd name="T67" fmla="*/ 576 h 588"/>
                <a:gd name="T68" fmla="*/ 587 w 587"/>
                <a:gd name="T69" fmla="*/ 15 h 588"/>
                <a:gd name="T70" fmla="*/ 585 w 587"/>
                <a:gd name="T71" fmla="*/ 10 h 588"/>
                <a:gd name="T72" fmla="*/ 582 w 587"/>
                <a:gd name="T73" fmla="*/ 5 h 588"/>
                <a:gd name="T74" fmla="*/ 578 w 587"/>
                <a:gd name="T75" fmla="*/ 2 h 588"/>
                <a:gd name="T76" fmla="*/ 572 w 587"/>
                <a:gd name="T77" fmla="*/ 0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87" h="588">
                  <a:moveTo>
                    <a:pt x="572" y="0"/>
                  </a:moveTo>
                  <a:lnTo>
                    <a:pt x="15" y="0"/>
                  </a:lnTo>
                  <a:lnTo>
                    <a:pt x="11" y="2"/>
                  </a:lnTo>
                  <a:lnTo>
                    <a:pt x="9" y="2"/>
                  </a:lnTo>
                  <a:lnTo>
                    <a:pt x="6" y="4"/>
                  </a:lnTo>
                  <a:lnTo>
                    <a:pt x="4" y="5"/>
                  </a:lnTo>
                  <a:lnTo>
                    <a:pt x="3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452"/>
                  </a:lnTo>
                  <a:lnTo>
                    <a:pt x="14" y="453"/>
                  </a:lnTo>
                  <a:lnTo>
                    <a:pt x="27" y="455"/>
                  </a:lnTo>
                  <a:lnTo>
                    <a:pt x="40" y="458"/>
                  </a:lnTo>
                  <a:lnTo>
                    <a:pt x="52" y="463"/>
                  </a:lnTo>
                  <a:lnTo>
                    <a:pt x="64" y="469"/>
                  </a:lnTo>
                  <a:lnTo>
                    <a:pt x="76" y="476"/>
                  </a:lnTo>
                  <a:lnTo>
                    <a:pt x="85" y="483"/>
                  </a:lnTo>
                  <a:lnTo>
                    <a:pt x="95" y="492"/>
                  </a:lnTo>
                  <a:lnTo>
                    <a:pt x="105" y="501"/>
                  </a:lnTo>
                  <a:lnTo>
                    <a:pt x="112" y="512"/>
                  </a:lnTo>
                  <a:lnTo>
                    <a:pt x="119" y="524"/>
                  </a:lnTo>
                  <a:lnTo>
                    <a:pt x="125" y="536"/>
                  </a:lnTo>
                  <a:lnTo>
                    <a:pt x="129" y="548"/>
                  </a:lnTo>
                  <a:lnTo>
                    <a:pt x="133" y="560"/>
                  </a:lnTo>
                  <a:lnTo>
                    <a:pt x="135" y="574"/>
                  </a:lnTo>
                  <a:lnTo>
                    <a:pt x="135" y="588"/>
                  </a:lnTo>
                  <a:lnTo>
                    <a:pt x="286" y="588"/>
                  </a:lnTo>
                  <a:lnTo>
                    <a:pt x="286" y="574"/>
                  </a:lnTo>
                  <a:lnTo>
                    <a:pt x="288" y="560"/>
                  </a:lnTo>
                  <a:lnTo>
                    <a:pt x="292" y="548"/>
                  </a:lnTo>
                  <a:lnTo>
                    <a:pt x="297" y="536"/>
                  </a:lnTo>
                  <a:lnTo>
                    <a:pt x="302" y="524"/>
                  </a:lnTo>
                  <a:lnTo>
                    <a:pt x="308" y="512"/>
                  </a:lnTo>
                  <a:lnTo>
                    <a:pt x="317" y="501"/>
                  </a:lnTo>
                  <a:lnTo>
                    <a:pt x="326" y="492"/>
                  </a:lnTo>
                  <a:lnTo>
                    <a:pt x="335" y="483"/>
                  </a:lnTo>
                  <a:lnTo>
                    <a:pt x="346" y="476"/>
                  </a:lnTo>
                  <a:lnTo>
                    <a:pt x="357" y="469"/>
                  </a:lnTo>
                  <a:lnTo>
                    <a:pt x="369" y="463"/>
                  </a:lnTo>
                  <a:lnTo>
                    <a:pt x="381" y="458"/>
                  </a:lnTo>
                  <a:lnTo>
                    <a:pt x="394" y="455"/>
                  </a:lnTo>
                  <a:lnTo>
                    <a:pt x="407" y="453"/>
                  </a:lnTo>
                  <a:lnTo>
                    <a:pt x="421" y="452"/>
                  </a:lnTo>
                  <a:lnTo>
                    <a:pt x="435" y="453"/>
                  </a:lnTo>
                  <a:lnTo>
                    <a:pt x="449" y="455"/>
                  </a:lnTo>
                  <a:lnTo>
                    <a:pt x="462" y="458"/>
                  </a:lnTo>
                  <a:lnTo>
                    <a:pt x="474" y="463"/>
                  </a:lnTo>
                  <a:lnTo>
                    <a:pt x="485" y="469"/>
                  </a:lnTo>
                  <a:lnTo>
                    <a:pt x="497" y="476"/>
                  </a:lnTo>
                  <a:lnTo>
                    <a:pt x="507" y="483"/>
                  </a:lnTo>
                  <a:lnTo>
                    <a:pt x="517" y="492"/>
                  </a:lnTo>
                  <a:lnTo>
                    <a:pt x="526" y="501"/>
                  </a:lnTo>
                  <a:lnTo>
                    <a:pt x="534" y="512"/>
                  </a:lnTo>
                  <a:lnTo>
                    <a:pt x="540" y="524"/>
                  </a:lnTo>
                  <a:lnTo>
                    <a:pt x="547" y="536"/>
                  </a:lnTo>
                  <a:lnTo>
                    <a:pt x="551" y="548"/>
                  </a:lnTo>
                  <a:lnTo>
                    <a:pt x="554" y="560"/>
                  </a:lnTo>
                  <a:lnTo>
                    <a:pt x="556" y="574"/>
                  </a:lnTo>
                  <a:lnTo>
                    <a:pt x="556" y="588"/>
                  </a:lnTo>
                  <a:lnTo>
                    <a:pt x="572" y="588"/>
                  </a:lnTo>
                  <a:lnTo>
                    <a:pt x="574" y="587"/>
                  </a:lnTo>
                  <a:lnTo>
                    <a:pt x="578" y="587"/>
                  </a:lnTo>
                  <a:lnTo>
                    <a:pt x="580" y="585"/>
                  </a:lnTo>
                  <a:lnTo>
                    <a:pt x="582" y="584"/>
                  </a:lnTo>
                  <a:lnTo>
                    <a:pt x="584" y="582"/>
                  </a:lnTo>
                  <a:lnTo>
                    <a:pt x="585" y="579"/>
                  </a:lnTo>
                  <a:lnTo>
                    <a:pt x="586" y="576"/>
                  </a:lnTo>
                  <a:lnTo>
                    <a:pt x="587" y="573"/>
                  </a:lnTo>
                  <a:lnTo>
                    <a:pt x="587" y="15"/>
                  </a:lnTo>
                  <a:lnTo>
                    <a:pt x="586" y="13"/>
                  </a:lnTo>
                  <a:lnTo>
                    <a:pt x="585" y="10"/>
                  </a:lnTo>
                  <a:lnTo>
                    <a:pt x="584" y="8"/>
                  </a:lnTo>
                  <a:lnTo>
                    <a:pt x="582" y="5"/>
                  </a:lnTo>
                  <a:lnTo>
                    <a:pt x="580" y="4"/>
                  </a:lnTo>
                  <a:lnTo>
                    <a:pt x="578" y="2"/>
                  </a:lnTo>
                  <a:lnTo>
                    <a:pt x="574" y="2"/>
                  </a:lnTo>
                  <a:lnTo>
                    <a:pt x="57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62" name="Freeform 519"/>
            <p:cNvSpPr>
              <a:spLocks noEditPoints="1"/>
            </p:cNvSpPr>
            <p:nvPr/>
          </p:nvSpPr>
          <p:spPr bwMode="auto">
            <a:xfrm>
              <a:off x="1450975" y="2606675"/>
              <a:ext cx="92075" cy="115888"/>
            </a:xfrm>
            <a:custGeom>
              <a:avLst/>
              <a:gdLst>
                <a:gd name="T0" fmla="*/ 145 w 287"/>
                <a:gd name="T1" fmla="*/ 121 h 362"/>
                <a:gd name="T2" fmla="*/ 134 w 287"/>
                <a:gd name="T3" fmla="*/ 125 h 362"/>
                <a:gd name="T4" fmla="*/ 127 w 287"/>
                <a:gd name="T5" fmla="*/ 133 h 362"/>
                <a:gd name="T6" fmla="*/ 121 w 287"/>
                <a:gd name="T7" fmla="*/ 143 h 362"/>
                <a:gd name="T8" fmla="*/ 121 w 287"/>
                <a:gd name="T9" fmla="*/ 225 h 362"/>
                <a:gd name="T10" fmla="*/ 120 w 287"/>
                <a:gd name="T11" fmla="*/ 231 h 362"/>
                <a:gd name="T12" fmla="*/ 117 w 287"/>
                <a:gd name="T13" fmla="*/ 236 h 362"/>
                <a:gd name="T14" fmla="*/ 112 w 287"/>
                <a:gd name="T15" fmla="*/ 239 h 362"/>
                <a:gd name="T16" fmla="*/ 106 w 287"/>
                <a:gd name="T17" fmla="*/ 240 h 362"/>
                <a:gd name="T18" fmla="*/ 100 w 287"/>
                <a:gd name="T19" fmla="*/ 239 h 362"/>
                <a:gd name="T20" fmla="*/ 96 w 287"/>
                <a:gd name="T21" fmla="*/ 236 h 362"/>
                <a:gd name="T22" fmla="*/ 92 w 287"/>
                <a:gd name="T23" fmla="*/ 231 h 362"/>
                <a:gd name="T24" fmla="*/ 91 w 287"/>
                <a:gd name="T25" fmla="*/ 225 h 362"/>
                <a:gd name="T26" fmla="*/ 91 w 287"/>
                <a:gd name="T27" fmla="*/ 143 h 362"/>
                <a:gd name="T28" fmla="*/ 93 w 287"/>
                <a:gd name="T29" fmla="*/ 132 h 362"/>
                <a:gd name="T30" fmla="*/ 98 w 287"/>
                <a:gd name="T31" fmla="*/ 121 h 362"/>
                <a:gd name="T32" fmla="*/ 104 w 287"/>
                <a:gd name="T33" fmla="*/ 111 h 362"/>
                <a:gd name="T34" fmla="*/ 113 w 287"/>
                <a:gd name="T35" fmla="*/ 104 h 362"/>
                <a:gd name="T36" fmla="*/ 122 w 287"/>
                <a:gd name="T37" fmla="*/ 97 h 362"/>
                <a:gd name="T38" fmla="*/ 133 w 287"/>
                <a:gd name="T39" fmla="*/ 92 h 362"/>
                <a:gd name="T40" fmla="*/ 145 w 287"/>
                <a:gd name="T41" fmla="*/ 90 h 362"/>
                <a:gd name="T42" fmla="*/ 226 w 287"/>
                <a:gd name="T43" fmla="*/ 90 h 362"/>
                <a:gd name="T44" fmla="*/ 232 w 287"/>
                <a:gd name="T45" fmla="*/ 91 h 362"/>
                <a:gd name="T46" fmla="*/ 237 w 287"/>
                <a:gd name="T47" fmla="*/ 94 h 362"/>
                <a:gd name="T48" fmla="*/ 240 w 287"/>
                <a:gd name="T49" fmla="*/ 98 h 362"/>
                <a:gd name="T50" fmla="*/ 241 w 287"/>
                <a:gd name="T51" fmla="*/ 105 h 362"/>
                <a:gd name="T52" fmla="*/ 240 w 287"/>
                <a:gd name="T53" fmla="*/ 110 h 362"/>
                <a:gd name="T54" fmla="*/ 237 w 287"/>
                <a:gd name="T55" fmla="*/ 116 h 362"/>
                <a:gd name="T56" fmla="*/ 232 w 287"/>
                <a:gd name="T57" fmla="*/ 119 h 362"/>
                <a:gd name="T58" fmla="*/ 226 w 287"/>
                <a:gd name="T59" fmla="*/ 120 h 362"/>
                <a:gd name="T60" fmla="*/ 287 w 287"/>
                <a:gd name="T61" fmla="*/ 304 h 362"/>
                <a:gd name="T62" fmla="*/ 287 w 287"/>
                <a:gd name="T63" fmla="*/ 12 h 362"/>
                <a:gd name="T64" fmla="*/ 284 w 287"/>
                <a:gd name="T65" fmla="*/ 6 h 362"/>
                <a:gd name="T66" fmla="*/ 280 w 287"/>
                <a:gd name="T67" fmla="*/ 2 h 362"/>
                <a:gd name="T68" fmla="*/ 275 w 287"/>
                <a:gd name="T69" fmla="*/ 0 h 362"/>
                <a:gd name="T70" fmla="*/ 136 w 287"/>
                <a:gd name="T71" fmla="*/ 0 h 362"/>
                <a:gd name="T72" fmla="*/ 109 w 287"/>
                <a:gd name="T73" fmla="*/ 2 h 362"/>
                <a:gd name="T74" fmla="*/ 84 w 287"/>
                <a:gd name="T75" fmla="*/ 10 h 362"/>
                <a:gd name="T76" fmla="*/ 60 w 287"/>
                <a:gd name="T77" fmla="*/ 22 h 362"/>
                <a:gd name="T78" fmla="*/ 40 w 287"/>
                <a:gd name="T79" fmla="*/ 39 h 362"/>
                <a:gd name="T80" fmla="*/ 24 w 287"/>
                <a:gd name="T81" fmla="*/ 59 h 362"/>
                <a:gd name="T82" fmla="*/ 11 w 287"/>
                <a:gd name="T83" fmla="*/ 82 h 362"/>
                <a:gd name="T84" fmla="*/ 3 w 287"/>
                <a:gd name="T85" fmla="*/ 108 h 362"/>
                <a:gd name="T86" fmla="*/ 0 w 287"/>
                <a:gd name="T87" fmla="*/ 135 h 362"/>
                <a:gd name="T88" fmla="*/ 196 w 287"/>
                <a:gd name="T89" fmla="*/ 361 h 362"/>
                <a:gd name="T90" fmla="*/ 203 w 287"/>
                <a:gd name="T91" fmla="*/ 362 h 362"/>
                <a:gd name="T92" fmla="*/ 219 w 287"/>
                <a:gd name="T93" fmla="*/ 342 h 362"/>
                <a:gd name="T94" fmla="*/ 239 w 287"/>
                <a:gd name="T95" fmla="*/ 326 h 362"/>
                <a:gd name="T96" fmla="*/ 262 w 287"/>
                <a:gd name="T97" fmla="*/ 312 h 362"/>
                <a:gd name="T98" fmla="*/ 287 w 287"/>
                <a:gd name="T99" fmla="*/ 304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7" h="362">
                  <a:moveTo>
                    <a:pt x="151" y="120"/>
                  </a:moveTo>
                  <a:lnTo>
                    <a:pt x="145" y="121"/>
                  </a:lnTo>
                  <a:lnTo>
                    <a:pt x="140" y="122"/>
                  </a:lnTo>
                  <a:lnTo>
                    <a:pt x="134" y="125"/>
                  </a:lnTo>
                  <a:lnTo>
                    <a:pt x="130" y="128"/>
                  </a:lnTo>
                  <a:lnTo>
                    <a:pt x="127" y="133"/>
                  </a:lnTo>
                  <a:lnTo>
                    <a:pt x="124" y="138"/>
                  </a:lnTo>
                  <a:lnTo>
                    <a:pt x="121" y="143"/>
                  </a:lnTo>
                  <a:lnTo>
                    <a:pt x="121" y="150"/>
                  </a:lnTo>
                  <a:lnTo>
                    <a:pt x="121" y="225"/>
                  </a:lnTo>
                  <a:lnTo>
                    <a:pt x="120" y="228"/>
                  </a:lnTo>
                  <a:lnTo>
                    <a:pt x="120" y="231"/>
                  </a:lnTo>
                  <a:lnTo>
                    <a:pt x="118" y="234"/>
                  </a:lnTo>
                  <a:lnTo>
                    <a:pt x="117" y="236"/>
                  </a:lnTo>
                  <a:lnTo>
                    <a:pt x="115" y="238"/>
                  </a:lnTo>
                  <a:lnTo>
                    <a:pt x="112" y="239"/>
                  </a:lnTo>
                  <a:lnTo>
                    <a:pt x="110" y="240"/>
                  </a:lnTo>
                  <a:lnTo>
                    <a:pt x="106" y="240"/>
                  </a:lnTo>
                  <a:lnTo>
                    <a:pt x="103" y="240"/>
                  </a:lnTo>
                  <a:lnTo>
                    <a:pt x="100" y="239"/>
                  </a:lnTo>
                  <a:lnTo>
                    <a:pt x="98" y="238"/>
                  </a:lnTo>
                  <a:lnTo>
                    <a:pt x="96" y="236"/>
                  </a:lnTo>
                  <a:lnTo>
                    <a:pt x="93" y="234"/>
                  </a:lnTo>
                  <a:lnTo>
                    <a:pt x="92" y="231"/>
                  </a:lnTo>
                  <a:lnTo>
                    <a:pt x="91" y="228"/>
                  </a:lnTo>
                  <a:lnTo>
                    <a:pt x="91" y="225"/>
                  </a:lnTo>
                  <a:lnTo>
                    <a:pt x="91" y="150"/>
                  </a:lnTo>
                  <a:lnTo>
                    <a:pt x="91" y="143"/>
                  </a:lnTo>
                  <a:lnTo>
                    <a:pt x="92" y="138"/>
                  </a:lnTo>
                  <a:lnTo>
                    <a:pt x="93" y="132"/>
                  </a:lnTo>
                  <a:lnTo>
                    <a:pt x="96" y="126"/>
                  </a:lnTo>
                  <a:lnTo>
                    <a:pt x="98" y="121"/>
                  </a:lnTo>
                  <a:lnTo>
                    <a:pt x="101" y="117"/>
                  </a:lnTo>
                  <a:lnTo>
                    <a:pt x="104" y="111"/>
                  </a:lnTo>
                  <a:lnTo>
                    <a:pt x="109" y="107"/>
                  </a:lnTo>
                  <a:lnTo>
                    <a:pt x="113" y="104"/>
                  </a:lnTo>
                  <a:lnTo>
                    <a:pt x="117" y="99"/>
                  </a:lnTo>
                  <a:lnTo>
                    <a:pt x="122" y="97"/>
                  </a:lnTo>
                  <a:lnTo>
                    <a:pt x="128" y="94"/>
                  </a:lnTo>
                  <a:lnTo>
                    <a:pt x="133" y="92"/>
                  </a:lnTo>
                  <a:lnTo>
                    <a:pt x="139" y="91"/>
                  </a:lnTo>
                  <a:lnTo>
                    <a:pt x="145" y="90"/>
                  </a:lnTo>
                  <a:lnTo>
                    <a:pt x="151" y="90"/>
                  </a:lnTo>
                  <a:lnTo>
                    <a:pt x="226" y="90"/>
                  </a:lnTo>
                  <a:lnTo>
                    <a:pt x="230" y="90"/>
                  </a:lnTo>
                  <a:lnTo>
                    <a:pt x="232" y="91"/>
                  </a:lnTo>
                  <a:lnTo>
                    <a:pt x="235" y="92"/>
                  </a:lnTo>
                  <a:lnTo>
                    <a:pt x="237" y="94"/>
                  </a:lnTo>
                  <a:lnTo>
                    <a:pt x="239" y="96"/>
                  </a:lnTo>
                  <a:lnTo>
                    <a:pt x="240" y="98"/>
                  </a:lnTo>
                  <a:lnTo>
                    <a:pt x="241" y="102"/>
                  </a:lnTo>
                  <a:lnTo>
                    <a:pt x="241" y="105"/>
                  </a:lnTo>
                  <a:lnTo>
                    <a:pt x="241" y="108"/>
                  </a:lnTo>
                  <a:lnTo>
                    <a:pt x="240" y="110"/>
                  </a:lnTo>
                  <a:lnTo>
                    <a:pt x="239" y="113"/>
                  </a:lnTo>
                  <a:lnTo>
                    <a:pt x="237" y="116"/>
                  </a:lnTo>
                  <a:lnTo>
                    <a:pt x="235" y="118"/>
                  </a:lnTo>
                  <a:lnTo>
                    <a:pt x="232" y="119"/>
                  </a:lnTo>
                  <a:lnTo>
                    <a:pt x="230" y="120"/>
                  </a:lnTo>
                  <a:lnTo>
                    <a:pt x="226" y="120"/>
                  </a:lnTo>
                  <a:lnTo>
                    <a:pt x="151" y="120"/>
                  </a:lnTo>
                  <a:close/>
                  <a:moveTo>
                    <a:pt x="287" y="304"/>
                  </a:moveTo>
                  <a:lnTo>
                    <a:pt x="287" y="15"/>
                  </a:lnTo>
                  <a:lnTo>
                    <a:pt x="287" y="12"/>
                  </a:lnTo>
                  <a:lnTo>
                    <a:pt x="285" y="8"/>
                  </a:lnTo>
                  <a:lnTo>
                    <a:pt x="284" y="6"/>
                  </a:lnTo>
                  <a:lnTo>
                    <a:pt x="282" y="4"/>
                  </a:lnTo>
                  <a:lnTo>
                    <a:pt x="280" y="2"/>
                  </a:lnTo>
                  <a:lnTo>
                    <a:pt x="278" y="1"/>
                  </a:lnTo>
                  <a:lnTo>
                    <a:pt x="275" y="0"/>
                  </a:lnTo>
                  <a:lnTo>
                    <a:pt x="272" y="0"/>
                  </a:lnTo>
                  <a:lnTo>
                    <a:pt x="136" y="0"/>
                  </a:lnTo>
                  <a:lnTo>
                    <a:pt x="122" y="0"/>
                  </a:lnTo>
                  <a:lnTo>
                    <a:pt x="109" y="2"/>
                  </a:lnTo>
                  <a:lnTo>
                    <a:pt x="96" y="5"/>
                  </a:lnTo>
                  <a:lnTo>
                    <a:pt x="84" y="10"/>
                  </a:lnTo>
                  <a:lnTo>
                    <a:pt x="72" y="16"/>
                  </a:lnTo>
                  <a:lnTo>
                    <a:pt x="60" y="22"/>
                  </a:lnTo>
                  <a:lnTo>
                    <a:pt x="50" y="31"/>
                  </a:lnTo>
                  <a:lnTo>
                    <a:pt x="40" y="39"/>
                  </a:lnTo>
                  <a:lnTo>
                    <a:pt x="31" y="49"/>
                  </a:lnTo>
                  <a:lnTo>
                    <a:pt x="24" y="59"/>
                  </a:lnTo>
                  <a:lnTo>
                    <a:pt x="17" y="71"/>
                  </a:lnTo>
                  <a:lnTo>
                    <a:pt x="11" y="82"/>
                  </a:lnTo>
                  <a:lnTo>
                    <a:pt x="7" y="94"/>
                  </a:lnTo>
                  <a:lnTo>
                    <a:pt x="3" y="108"/>
                  </a:lnTo>
                  <a:lnTo>
                    <a:pt x="1" y="121"/>
                  </a:lnTo>
                  <a:lnTo>
                    <a:pt x="0" y="135"/>
                  </a:lnTo>
                  <a:lnTo>
                    <a:pt x="0" y="361"/>
                  </a:lnTo>
                  <a:lnTo>
                    <a:pt x="196" y="361"/>
                  </a:lnTo>
                  <a:lnTo>
                    <a:pt x="200" y="361"/>
                  </a:lnTo>
                  <a:lnTo>
                    <a:pt x="203" y="362"/>
                  </a:lnTo>
                  <a:lnTo>
                    <a:pt x="210" y="352"/>
                  </a:lnTo>
                  <a:lnTo>
                    <a:pt x="219" y="342"/>
                  </a:lnTo>
                  <a:lnTo>
                    <a:pt x="229" y="333"/>
                  </a:lnTo>
                  <a:lnTo>
                    <a:pt x="239" y="326"/>
                  </a:lnTo>
                  <a:lnTo>
                    <a:pt x="250" y="318"/>
                  </a:lnTo>
                  <a:lnTo>
                    <a:pt x="262" y="312"/>
                  </a:lnTo>
                  <a:lnTo>
                    <a:pt x="274" y="308"/>
                  </a:lnTo>
                  <a:lnTo>
                    <a:pt x="287" y="3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63" name="Freeform 520"/>
            <p:cNvSpPr>
              <a:spLocks/>
            </p:cNvSpPr>
            <p:nvPr/>
          </p:nvSpPr>
          <p:spPr bwMode="auto">
            <a:xfrm>
              <a:off x="1450975" y="2732088"/>
              <a:ext cx="60325" cy="28575"/>
            </a:xfrm>
            <a:custGeom>
              <a:avLst/>
              <a:gdLst>
                <a:gd name="T0" fmla="*/ 0 w 189"/>
                <a:gd name="T1" fmla="*/ 0 h 90"/>
                <a:gd name="T2" fmla="*/ 0 w 189"/>
                <a:gd name="T3" fmla="*/ 75 h 90"/>
                <a:gd name="T4" fmla="*/ 1 w 189"/>
                <a:gd name="T5" fmla="*/ 79 h 90"/>
                <a:gd name="T6" fmla="*/ 2 w 189"/>
                <a:gd name="T7" fmla="*/ 81 h 90"/>
                <a:gd name="T8" fmla="*/ 3 w 189"/>
                <a:gd name="T9" fmla="*/ 84 h 90"/>
                <a:gd name="T10" fmla="*/ 6 w 189"/>
                <a:gd name="T11" fmla="*/ 86 h 90"/>
                <a:gd name="T12" fmla="*/ 8 w 189"/>
                <a:gd name="T13" fmla="*/ 87 h 90"/>
                <a:gd name="T14" fmla="*/ 10 w 189"/>
                <a:gd name="T15" fmla="*/ 89 h 90"/>
                <a:gd name="T16" fmla="*/ 13 w 189"/>
                <a:gd name="T17" fmla="*/ 90 h 90"/>
                <a:gd name="T18" fmla="*/ 15 w 189"/>
                <a:gd name="T19" fmla="*/ 90 h 90"/>
                <a:gd name="T20" fmla="*/ 189 w 189"/>
                <a:gd name="T21" fmla="*/ 90 h 90"/>
                <a:gd name="T22" fmla="*/ 186 w 189"/>
                <a:gd name="T23" fmla="*/ 80 h 90"/>
                <a:gd name="T24" fmla="*/ 184 w 189"/>
                <a:gd name="T25" fmla="*/ 68 h 90"/>
                <a:gd name="T26" fmla="*/ 181 w 189"/>
                <a:gd name="T27" fmla="*/ 57 h 90"/>
                <a:gd name="T28" fmla="*/ 181 w 189"/>
                <a:gd name="T29" fmla="*/ 45 h 90"/>
                <a:gd name="T30" fmla="*/ 181 w 189"/>
                <a:gd name="T31" fmla="*/ 33 h 90"/>
                <a:gd name="T32" fmla="*/ 184 w 189"/>
                <a:gd name="T33" fmla="*/ 22 h 90"/>
                <a:gd name="T34" fmla="*/ 186 w 189"/>
                <a:gd name="T35" fmla="*/ 11 h 90"/>
                <a:gd name="T36" fmla="*/ 189 w 189"/>
                <a:gd name="T37" fmla="*/ 0 h 90"/>
                <a:gd name="T38" fmla="*/ 0 w 189"/>
                <a:gd name="T3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9" h="90">
                  <a:moveTo>
                    <a:pt x="0" y="0"/>
                  </a:moveTo>
                  <a:lnTo>
                    <a:pt x="0" y="75"/>
                  </a:lnTo>
                  <a:lnTo>
                    <a:pt x="1" y="79"/>
                  </a:lnTo>
                  <a:lnTo>
                    <a:pt x="2" y="81"/>
                  </a:lnTo>
                  <a:lnTo>
                    <a:pt x="3" y="84"/>
                  </a:lnTo>
                  <a:lnTo>
                    <a:pt x="6" y="86"/>
                  </a:lnTo>
                  <a:lnTo>
                    <a:pt x="8" y="87"/>
                  </a:lnTo>
                  <a:lnTo>
                    <a:pt x="10" y="89"/>
                  </a:lnTo>
                  <a:lnTo>
                    <a:pt x="13" y="90"/>
                  </a:lnTo>
                  <a:lnTo>
                    <a:pt x="15" y="90"/>
                  </a:lnTo>
                  <a:lnTo>
                    <a:pt x="189" y="90"/>
                  </a:lnTo>
                  <a:lnTo>
                    <a:pt x="186" y="80"/>
                  </a:lnTo>
                  <a:lnTo>
                    <a:pt x="184" y="68"/>
                  </a:lnTo>
                  <a:lnTo>
                    <a:pt x="181" y="57"/>
                  </a:lnTo>
                  <a:lnTo>
                    <a:pt x="181" y="45"/>
                  </a:lnTo>
                  <a:lnTo>
                    <a:pt x="181" y="33"/>
                  </a:lnTo>
                  <a:lnTo>
                    <a:pt x="184" y="22"/>
                  </a:lnTo>
                  <a:lnTo>
                    <a:pt x="186" y="11"/>
                  </a:lnTo>
                  <a:lnTo>
                    <a:pt x="18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64" name="Freeform 521"/>
            <p:cNvSpPr>
              <a:spLocks/>
            </p:cNvSpPr>
            <p:nvPr/>
          </p:nvSpPr>
          <p:spPr bwMode="auto">
            <a:xfrm>
              <a:off x="1652588" y="2711450"/>
              <a:ext cx="66675" cy="68263"/>
            </a:xfrm>
            <a:custGeom>
              <a:avLst/>
              <a:gdLst>
                <a:gd name="T0" fmla="*/ 94 w 210"/>
                <a:gd name="T1" fmla="*/ 1 h 211"/>
                <a:gd name="T2" fmla="*/ 74 w 210"/>
                <a:gd name="T3" fmla="*/ 5 h 211"/>
                <a:gd name="T4" fmla="*/ 55 w 210"/>
                <a:gd name="T5" fmla="*/ 13 h 211"/>
                <a:gd name="T6" fmla="*/ 39 w 210"/>
                <a:gd name="T7" fmla="*/ 25 h 211"/>
                <a:gd name="T8" fmla="*/ 24 w 210"/>
                <a:gd name="T9" fmla="*/ 39 h 211"/>
                <a:gd name="T10" fmla="*/ 13 w 210"/>
                <a:gd name="T11" fmla="*/ 56 h 211"/>
                <a:gd name="T12" fmla="*/ 4 w 210"/>
                <a:gd name="T13" fmla="*/ 75 h 211"/>
                <a:gd name="T14" fmla="*/ 0 w 210"/>
                <a:gd name="T15" fmla="*/ 96 h 211"/>
                <a:gd name="T16" fmla="*/ 0 w 210"/>
                <a:gd name="T17" fmla="*/ 117 h 211"/>
                <a:gd name="T18" fmla="*/ 4 w 210"/>
                <a:gd name="T19" fmla="*/ 137 h 211"/>
                <a:gd name="T20" fmla="*/ 13 w 210"/>
                <a:gd name="T21" fmla="*/ 156 h 211"/>
                <a:gd name="T22" fmla="*/ 24 w 210"/>
                <a:gd name="T23" fmla="*/ 173 h 211"/>
                <a:gd name="T24" fmla="*/ 39 w 210"/>
                <a:gd name="T25" fmla="*/ 187 h 211"/>
                <a:gd name="T26" fmla="*/ 55 w 210"/>
                <a:gd name="T27" fmla="*/ 199 h 211"/>
                <a:gd name="T28" fmla="*/ 74 w 210"/>
                <a:gd name="T29" fmla="*/ 207 h 211"/>
                <a:gd name="T30" fmla="*/ 94 w 210"/>
                <a:gd name="T31" fmla="*/ 210 h 211"/>
                <a:gd name="T32" fmla="*/ 116 w 210"/>
                <a:gd name="T33" fmla="*/ 210 h 211"/>
                <a:gd name="T34" fmla="*/ 136 w 210"/>
                <a:gd name="T35" fmla="*/ 207 h 211"/>
                <a:gd name="T36" fmla="*/ 155 w 210"/>
                <a:gd name="T37" fmla="*/ 199 h 211"/>
                <a:gd name="T38" fmla="*/ 173 w 210"/>
                <a:gd name="T39" fmla="*/ 187 h 211"/>
                <a:gd name="T40" fmla="*/ 187 w 210"/>
                <a:gd name="T41" fmla="*/ 173 h 211"/>
                <a:gd name="T42" fmla="*/ 198 w 210"/>
                <a:gd name="T43" fmla="*/ 156 h 211"/>
                <a:gd name="T44" fmla="*/ 206 w 210"/>
                <a:gd name="T45" fmla="*/ 137 h 211"/>
                <a:gd name="T46" fmla="*/ 210 w 210"/>
                <a:gd name="T47" fmla="*/ 117 h 211"/>
                <a:gd name="T48" fmla="*/ 210 w 210"/>
                <a:gd name="T49" fmla="*/ 96 h 211"/>
                <a:gd name="T50" fmla="*/ 206 w 210"/>
                <a:gd name="T51" fmla="*/ 74 h 211"/>
                <a:gd name="T52" fmla="*/ 198 w 210"/>
                <a:gd name="T53" fmla="*/ 56 h 211"/>
                <a:gd name="T54" fmla="*/ 187 w 210"/>
                <a:gd name="T55" fmla="*/ 39 h 211"/>
                <a:gd name="T56" fmla="*/ 173 w 210"/>
                <a:gd name="T57" fmla="*/ 25 h 211"/>
                <a:gd name="T58" fmla="*/ 155 w 210"/>
                <a:gd name="T59" fmla="*/ 13 h 211"/>
                <a:gd name="T60" fmla="*/ 136 w 210"/>
                <a:gd name="T61" fmla="*/ 5 h 211"/>
                <a:gd name="T62" fmla="*/ 116 w 210"/>
                <a:gd name="T63" fmla="*/ 1 h 211"/>
                <a:gd name="T64" fmla="*/ 105 w 210"/>
                <a:gd name="T65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0" h="211">
                  <a:moveTo>
                    <a:pt x="105" y="0"/>
                  </a:moveTo>
                  <a:lnTo>
                    <a:pt x="94" y="1"/>
                  </a:lnTo>
                  <a:lnTo>
                    <a:pt x="84" y="2"/>
                  </a:lnTo>
                  <a:lnTo>
                    <a:pt x="74" y="5"/>
                  </a:lnTo>
                  <a:lnTo>
                    <a:pt x="64" y="9"/>
                  </a:lnTo>
                  <a:lnTo>
                    <a:pt x="55" y="13"/>
                  </a:lnTo>
                  <a:lnTo>
                    <a:pt x="46" y="18"/>
                  </a:lnTo>
                  <a:lnTo>
                    <a:pt x="39" y="25"/>
                  </a:lnTo>
                  <a:lnTo>
                    <a:pt x="31" y="31"/>
                  </a:lnTo>
                  <a:lnTo>
                    <a:pt x="24" y="39"/>
                  </a:lnTo>
                  <a:lnTo>
                    <a:pt x="18" y="47"/>
                  </a:lnTo>
                  <a:lnTo>
                    <a:pt x="13" y="56"/>
                  </a:lnTo>
                  <a:lnTo>
                    <a:pt x="9" y="64"/>
                  </a:lnTo>
                  <a:lnTo>
                    <a:pt x="4" y="75"/>
                  </a:lnTo>
                  <a:lnTo>
                    <a:pt x="2" y="85"/>
                  </a:lnTo>
                  <a:lnTo>
                    <a:pt x="0" y="96"/>
                  </a:lnTo>
                  <a:lnTo>
                    <a:pt x="0" y="106"/>
                  </a:lnTo>
                  <a:lnTo>
                    <a:pt x="0" y="117"/>
                  </a:lnTo>
                  <a:lnTo>
                    <a:pt x="2" y="127"/>
                  </a:lnTo>
                  <a:lnTo>
                    <a:pt x="4" y="137"/>
                  </a:lnTo>
                  <a:lnTo>
                    <a:pt x="9" y="147"/>
                  </a:lnTo>
                  <a:lnTo>
                    <a:pt x="13" y="156"/>
                  </a:lnTo>
                  <a:lnTo>
                    <a:pt x="18" y="165"/>
                  </a:lnTo>
                  <a:lnTo>
                    <a:pt x="24" y="173"/>
                  </a:lnTo>
                  <a:lnTo>
                    <a:pt x="31" y="180"/>
                  </a:lnTo>
                  <a:lnTo>
                    <a:pt x="39" y="187"/>
                  </a:lnTo>
                  <a:lnTo>
                    <a:pt x="46" y="193"/>
                  </a:lnTo>
                  <a:lnTo>
                    <a:pt x="55" y="199"/>
                  </a:lnTo>
                  <a:lnTo>
                    <a:pt x="64" y="203"/>
                  </a:lnTo>
                  <a:lnTo>
                    <a:pt x="74" y="207"/>
                  </a:lnTo>
                  <a:lnTo>
                    <a:pt x="84" y="209"/>
                  </a:lnTo>
                  <a:lnTo>
                    <a:pt x="94" y="210"/>
                  </a:lnTo>
                  <a:lnTo>
                    <a:pt x="105" y="211"/>
                  </a:lnTo>
                  <a:lnTo>
                    <a:pt x="116" y="210"/>
                  </a:lnTo>
                  <a:lnTo>
                    <a:pt x="127" y="209"/>
                  </a:lnTo>
                  <a:lnTo>
                    <a:pt x="136" y="207"/>
                  </a:lnTo>
                  <a:lnTo>
                    <a:pt x="146" y="203"/>
                  </a:lnTo>
                  <a:lnTo>
                    <a:pt x="155" y="199"/>
                  </a:lnTo>
                  <a:lnTo>
                    <a:pt x="164" y="193"/>
                  </a:lnTo>
                  <a:lnTo>
                    <a:pt x="173" y="187"/>
                  </a:lnTo>
                  <a:lnTo>
                    <a:pt x="180" y="180"/>
                  </a:lnTo>
                  <a:lnTo>
                    <a:pt x="187" y="173"/>
                  </a:lnTo>
                  <a:lnTo>
                    <a:pt x="193" y="165"/>
                  </a:lnTo>
                  <a:lnTo>
                    <a:pt x="198" y="156"/>
                  </a:lnTo>
                  <a:lnTo>
                    <a:pt x="203" y="147"/>
                  </a:lnTo>
                  <a:lnTo>
                    <a:pt x="206" y="137"/>
                  </a:lnTo>
                  <a:lnTo>
                    <a:pt x="208" y="127"/>
                  </a:lnTo>
                  <a:lnTo>
                    <a:pt x="210" y="117"/>
                  </a:lnTo>
                  <a:lnTo>
                    <a:pt x="210" y="106"/>
                  </a:lnTo>
                  <a:lnTo>
                    <a:pt x="210" y="96"/>
                  </a:lnTo>
                  <a:lnTo>
                    <a:pt x="208" y="85"/>
                  </a:lnTo>
                  <a:lnTo>
                    <a:pt x="206" y="74"/>
                  </a:lnTo>
                  <a:lnTo>
                    <a:pt x="203" y="64"/>
                  </a:lnTo>
                  <a:lnTo>
                    <a:pt x="198" y="56"/>
                  </a:lnTo>
                  <a:lnTo>
                    <a:pt x="193" y="47"/>
                  </a:lnTo>
                  <a:lnTo>
                    <a:pt x="187" y="39"/>
                  </a:lnTo>
                  <a:lnTo>
                    <a:pt x="180" y="31"/>
                  </a:lnTo>
                  <a:lnTo>
                    <a:pt x="173" y="25"/>
                  </a:lnTo>
                  <a:lnTo>
                    <a:pt x="164" y="18"/>
                  </a:lnTo>
                  <a:lnTo>
                    <a:pt x="155" y="13"/>
                  </a:lnTo>
                  <a:lnTo>
                    <a:pt x="146" y="9"/>
                  </a:lnTo>
                  <a:lnTo>
                    <a:pt x="136" y="5"/>
                  </a:lnTo>
                  <a:lnTo>
                    <a:pt x="127" y="2"/>
                  </a:lnTo>
                  <a:lnTo>
                    <a:pt x="116" y="1"/>
                  </a:lnTo>
                  <a:lnTo>
                    <a:pt x="105" y="0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65" name="Freeform 522"/>
            <p:cNvSpPr>
              <a:spLocks/>
            </p:cNvSpPr>
            <p:nvPr/>
          </p:nvSpPr>
          <p:spPr bwMode="auto">
            <a:xfrm>
              <a:off x="1519238" y="2711450"/>
              <a:ext cx="66675" cy="68263"/>
            </a:xfrm>
            <a:custGeom>
              <a:avLst/>
              <a:gdLst>
                <a:gd name="T0" fmla="*/ 95 w 211"/>
                <a:gd name="T1" fmla="*/ 1 h 211"/>
                <a:gd name="T2" fmla="*/ 74 w 211"/>
                <a:gd name="T3" fmla="*/ 5 h 211"/>
                <a:gd name="T4" fmla="*/ 55 w 211"/>
                <a:gd name="T5" fmla="*/ 13 h 211"/>
                <a:gd name="T6" fmla="*/ 39 w 211"/>
                <a:gd name="T7" fmla="*/ 25 h 211"/>
                <a:gd name="T8" fmla="*/ 24 w 211"/>
                <a:gd name="T9" fmla="*/ 39 h 211"/>
                <a:gd name="T10" fmla="*/ 13 w 211"/>
                <a:gd name="T11" fmla="*/ 56 h 211"/>
                <a:gd name="T12" fmla="*/ 5 w 211"/>
                <a:gd name="T13" fmla="*/ 75 h 211"/>
                <a:gd name="T14" fmla="*/ 0 w 211"/>
                <a:gd name="T15" fmla="*/ 96 h 211"/>
                <a:gd name="T16" fmla="*/ 0 w 211"/>
                <a:gd name="T17" fmla="*/ 117 h 211"/>
                <a:gd name="T18" fmla="*/ 5 w 211"/>
                <a:gd name="T19" fmla="*/ 137 h 211"/>
                <a:gd name="T20" fmla="*/ 13 w 211"/>
                <a:gd name="T21" fmla="*/ 156 h 211"/>
                <a:gd name="T22" fmla="*/ 24 w 211"/>
                <a:gd name="T23" fmla="*/ 173 h 211"/>
                <a:gd name="T24" fmla="*/ 39 w 211"/>
                <a:gd name="T25" fmla="*/ 187 h 211"/>
                <a:gd name="T26" fmla="*/ 55 w 211"/>
                <a:gd name="T27" fmla="*/ 199 h 211"/>
                <a:gd name="T28" fmla="*/ 74 w 211"/>
                <a:gd name="T29" fmla="*/ 207 h 211"/>
                <a:gd name="T30" fmla="*/ 95 w 211"/>
                <a:gd name="T31" fmla="*/ 210 h 211"/>
                <a:gd name="T32" fmla="*/ 116 w 211"/>
                <a:gd name="T33" fmla="*/ 210 h 211"/>
                <a:gd name="T34" fmla="*/ 137 w 211"/>
                <a:gd name="T35" fmla="*/ 207 h 211"/>
                <a:gd name="T36" fmla="*/ 156 w 211"/>
                <a:gd name="T37" fmla="*/ 199 h 211"/>
                <a:gd name="T38" fmla="*/ 173 w 211"/>
                <a:gd name="T39" fmla="*/ 187 h 211"/>
                <a:gd name="T40" fmla="*/ 187 w 211"/>
                <a:gd name="T41" fmla="*/ 173 h 211"/>
                <a:gd name="T42" fmla="*/ 199 w 211"/>
                <a:gd name="T43" fmla="*/ 156 h 211"/>
                <a:gd name="T44" fmla="*/ 206 w 211"/>
                <a:gd name="T45" fmla="*/ 137 h 211"/>
                <a:gd name="T46" fmla="*/ 211 w 211"/>
                <a:gd name="T47" fmla="*/ 117 h 211"/>
                <a:gd name="T48" fmla="*/ 211 w 211"/>
                <a:gd name="T49" fmla="*/ 96 h 211"/>
                <a:gd name="T50" fmla="*/ 206 w 211"/>
                <a:gd name="T51" fmla="*/ 74 h 211"/>
                <a:gd name="T52" fmla="*/ 199 w 211"/>
                <a:gd name="T53" fmla="*/ 56 h 211"/>
                <a:gd name="T54" fmla="*/ 187 w 211"/>
                <a:gd name="T55" fmla="*/ 39 h 211"/>
                <a:gd name="T56" fmla="*/ 173 w 211"/>
                <a:gd name="T57" fmla="*/ 25 h 211"/>
                <a:gd name="T58" fmla="*/ 156 w 211"/>
                <a:gd name="T59" fmla="*/ 13 h 211"/>
                <a:gd name="T60" fmla="*/ 137 w 211"/>
                <a:gd name="T61" fmla="*/ 5 h 211"/>
                <a:gd name="T62" fmla="*/ 116 w 211"/>
                <a:gd name="T63" fmla="*/ 1 h 211"/>
                <a:gd name="T64" fmla="*/ 106 w 211"/>
                <a:gd name="T65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1" h="211">
                  <a:moveTo>
                    <a:pt x="106" y="0"/>
                  </a:moveTo>
                  <a:lnTo>
                    <a:pt x="95" y="1"/>
                  </a:lnTo>
                  <a:lnTo>
                    <a:pt x="84" y="2"/>
                  </a:lnTo>
                  <a:lnTo>
                    <a:pt x="74" y="5"/>
                  </a:lnTo>
                  <a:lnTo>
                    <a:pt x="65" y="9"/>
                  </a:lnTo>
                  <a:lnTo>
                    <a:pt x="55" y="13"/>
                  </a:lnTo>
                  <a:lnTo>
                    <a:pt x="47" y="18"/>
                  </a:lnTo>
                  <a:lnTo>
                    <a:pt x="39" y="25"/>
                  </a:lnTo>
                  <a:lnTo>
                    <a:pt x="32" y="31"/>
                  </a:lnTo>
                  <a:lnTo>
                    <a:pt x="24" y="39"/>
                  </a:lnTo>
                  <a:lnTo>
                    <a:pt x="19" y="47"/>
                  </a:lnTo>
                  <a:lnTo>
                    <a:pt x="13" y="56"/>
                  </a:lnTo>
                  <a:lnTo>
                    <a:pt x="9" y="64"/>
                  </a:lnTo>
                  <a:lnTo>
                    <a:pt x="5" y="75"/>
                  </a:lnTo>
                  <a:lnTo>
                    <a:pt x="3" y="85"/>
                  </a:lnTo>
                  <a:lnTo>
                    <a:pt x="0" y="96"/>
                  </a:lnTo>
                  <a:lnTo>
                    <a:pt x="0" y="106"/>
                  </a:lnTo>
                  <a:lnTo>
                    <a:pt x="0" y="117"/>
                  </a:lnTo>
                  <a:lnTo>
                    <a:pt x="3" y="127"/>
                  </a:lnTo>
                  <a:lnTo>
                    <a:pt x="5" y="137"/>
                  </a:lnTo>
                  <a:lnTo>
                    <a:pt x="9" y="147"/>
                  </a:lnTo>
                  <a:lnTo>
                    <a:pt x="13" y="156"/>
                  </a:lnTo>
                  <a:lnTo>
                    <a:pt x="19" y="165"/>
                  </a:lnTo>
                  <a:lnTo>
                    <a:pt x="24" y="173"/>
                  </a:lnTo>
                  <a:lnTo>
                    <a:pt x="32" y="180"/>
                  </a:lnTo>
                  <a:lnTo>
                    <a:pt x="39" y="187"/>
                  </a:lnTo>
                  <a:lnTo>
                    <a:pt x="47" y="193"/>
                  </a:lnTo>
                  <a:lnTo>
                    <a:pt x="55" y="199"/>
                  </a:lnTo>
                  <a:lnTo>
                    <a:pt x="65" y="203"/>
                  </a:lnTo>
                  <a:lnTo>
                    <a:pt x="74" y="207"/>
                  </a:lnTo>
                  <a:lnTo>
                    <a:pt x="84" y="209"/>
                  </a:lnTo>
                  <a:lnTo>
                    <a:pt x="95" y="210"/>
                  </a:lnTo>
                  <a:lnTo>
                    <a:pt x="106" y="211"/>
                  </a:lnTo>
                  <a:lnTo>
                    <a:pt x="116" y="210"/>
                  </a:lnTo>
                  <a:lnTo>
                    <a:pt x="127" y="209"/>
                  </a:lnTo>
                  <a:lnTo>
                    <a:pt x="137" y="207"/>
                  </a:lnTo>
                  <a:lnTo>
                    <a:pt x="146" y="203"/>
                  </a:lnTo>
                  <a:lnTo>
                    <a:pt x="156" y="199"/>
                  </a:lnTo>
                  <a:lnTo>
                    <a:pt x="165" y="193"/>
                  </a:lnTo>
                  <a:lnTo>
                    <a:pt x="173" y="187"/>
                  </a:lnTo>
                  <a:lnTo>
                    <a:pt x="181" y="180"/>
                  </a:lnTo>
                  <a:lnTo>
                    <a:pt x="187" y="173"/>
                  </a:lnTo>
                  <a:lnTo>
                    <a:pt x="194" y="165"/>
                  </a:lnTo>
                  <a:lnTo>
                    <a:pt x="199" y="156"/>
                  </a:lnTo>
                  <a:lnTo>
                    <a:pt x="203" y="147"/>
                  </a:lnTo>
                  <a:lnTo>
                    <a:pt x="206" y="137"/>
                  </a:lnTo>
                  <a:lnTo>
                    <a:pt x="209" y="127"/>
                  </a:lnTo>
                  <a:lnTo>
                    <a:pt x="211" y="117"/>
                  </a:lnTo>
                  <a:lnTo>
                    <a:pt x="211" y="106"/>
                  </a:lnTo>
                  <a:lnTo>
                    <a:pt x="211" y="96"/>
                  </a:lnTo>
                  <a:lnTo>
                    <a:pt x="209" y="85"/>
                  </a:lnTo>
                  <a:lnTo>
                    <a:pt x="206" y="74"/>
                  </a:lnTo>
                  <a:lnTo>
                    <a:pt x="203" y="64"/>
                  </a:lnTo>
                  <a:lnTo>
                    <a:pt x="199" y="56"/>
                  </a:lnTo>
                  <a:lnTo>
                    <a:pt x="194" y="47"/>
                  </a:lnTo>
                  <a:lnTo>
                    <a:pt x="187" y="39"/>
                  </a:lnTo>
                  <a:lnTo>
                    <a:pt x="181" y="31"/>
                  </a:lnTo>
                  <a:lnTo>
                    <a:pt x="173" y="25"/>
                  </a:lnTo>
                  <a:lnTo>
                    <a:pt x="165" y="18"/>
                  </a:lnTo>
                  <a:lnTo>
                    <a:pt x="156" y="13"/>
                  </a:lnTo>
                  <a:lnTo>
                    <a:pt x="146" y="9"/>
                  </a:lnTo>
                  <a:lnTo>
                    <a:pt x="137" y="5"/>
                  </a:lnTo>
                  <a:lnTo>
                    <a:pt x="127" y="2"/>
                  </a:lnTo>
                  <a:lnTo>
                    <a:pt x="116" y="1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66" name="Text Placeholder 2"/>
          <p:cNvSpPr txBox="1">
            <a:spLocks/>
          </p:cNvSpPr>
          <p:nvPr/>
        </p:nvSpPr>
        <p:spPr>
          <a:xfrm>
            <a:off x="1368200" y="4688981"/>
            <a:ext cx="1506366" cy="15260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 Lorem Ipsum has been the industry's standard dummy text ever since the 1500s.</a:t>
            </a:r>
          </a:p>
        </p:txBody>
      </p:sp>
      <p:sp>
        <p:nvSpPr>
          <p:cNvPr id="67" name="Text Placeholder 2"/>
          <p:cNvSpPr txBox="1">
            <a:spLocks/>
          </p:cNvSpPr>
          <p:nvPr/>
        </p:nvSpPr>
        <p:spPr>
          <a:xfrm>
            <a:off x="4175595" y="4688981"/>
            <a:ext cx="1506366" cy="15260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indent="0" rtl="1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None/>
              <a:defRPr sz="110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2pPr>
            <a:lvl3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3pPr>
            <a:lvl4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4pPr>
            <a:lvl5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lnSpc>
                <a:spcPts val="1700"/>
              </a:lnSpc>
            </a:pPr>
            <a:r>
              <a:rPr lang="en-US" dirty="0"/>
              <a:t>Lorem Ipsum is simply dummy text of the printing and typesetting industry. Lorem Ipsum has been the industry's standard dummy text ever since the 1500s.</a:t>
            </a:r>
          </a:p>
        </p:txBody>
      </p:sp>
      <p:sp>
        <p:nvSpPr>
          <p:cNvPr id="68" name="Text Placeholder 2"/>
          <p:cNvSpPr txBox="1">
            <a:spLocks/>
          </p:cNvSpPr>
          <p:nvPr/>
        </p:nvSpPr>
        <p:spPr>
          <a:xfrm>
            <a:off x="6982990" y="4688981"/>
            <a:ext cx="1506366" cy="15260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indent="0" rtl="1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None/>
              <a:defRPr sz="110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2pPr>
            <a:lvl3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3pPr>
            <a:lvl4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4pPr>
            <a:lvl5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lnSpc>
                <a:spcPts val="1700"/>
              </a:lnSpc>
            </a:pPr>
            <a:r>
              <a:rPr lang="en-US" dirty="0"/>
              <a:t>Lorem Ipsum is simply dummy text of the printing and typesetting industry. Lorem Ipsum has been the industry's standard dummy text ever since the 1500s.</a:t>
            </a:r>
          </a:p>
        </p:txBody>
      </p:sp>
      <p:sp>
        <p:nvSpPr>
          <p:cNvPr id="69" name="Text Placeholder 2"/>
          <p:cNvSpPr txBox="1">
            <a:spLocks/>
          </p:cNvSpPr>
          <p:nvPr/>
        </p:nvSpPr>
        <p:spPr>
          <a:xfrm>
            <a:off x="9790385" y="4688981"/>
            <a:ext cx="1506366" cy="15260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indent="0" rtl="1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None/>
              <a:defRPr sz="110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2pPr>
            <a:lvl3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3pPr>
            <a:lvl4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4pPr>
            <a:lvl5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lnSpc>
                <a:spcPts val="1700"/>
              </a:lnSpc>
            </a:pPr>
            <a:r>
              <a:rPr lang="en-US" dirty="0"/>
              <a:t>Lorem Ipsum is simply dummy text of the printing and typesetting industry. Lorem Ipsum has been the industry's standard dummy text ever since the 1500s.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1371475" y="4269489"/>
            <a:ext cx="1524007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LOREM IPSUM</a:t>
            </a:r>
            <a:endParaRPr lang="en-US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4178860" y="4269489"/>
            <a:ext cx="1524007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LOREM IPSUM</a:t>
            </a:r>
            <a:endParaRPr lang="en-US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6982990" y="4269489"/>
            <a:ext cx="1524007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LOREM IPSUM</a:t>
            </a:r>
            <a:endParaRPr lang="en-US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9790385" y="4269489"/>
            <a:ext cx="1524007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LOREM IPSUM</a:t>
            </a:r>
            <a:endParaRPr lang="en-US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1613892" y="3138788"/>
            <a:ext cx="482504" cy="2769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algn="ctr"/>
            <a:r>
              <a:rPr lang="cy-GB" dirty="0">
                <a:solidFill>
                  <a:srgbClr val="12568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20%</a:t>
            </a:r>
            <a:endParaRPr lang="en-US" dirty="0">
              <a:solidFill>
                <a:srgbClr val="125680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3121757" y="2984900"/>
            <a:ext cx="759823" cy="430887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algn="ctr"/>
            <a:r>
              <a:rPr lang="cy-GB" sz="2800" dirty="0">
                <a:solidFill>
                  <a:srgbClr val="12568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40%</a:t>
            </a:r>
            <a:endParaRPr lang="en-US" sz="2800" dirty="0">
              <a:solidFill>
                <a:srgbClr val="125680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5414751" y="2861789"/>
            <a:ext cx="969817" cy="55399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algn="ctr"/>
            <a:r>
              <a:rPr lang="cy-GB" sz="3600" dirty="0">
                <a:solidFill>
                  <a:srgbClr val="12568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60%</a:t>
            </a:r>
            <a:endParaRPr lang="en-US" sz="3600" dirty="0">
              <a:solidFill>
                <a:srgbClr val="125680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8273569" y="2738679"/>
            <a:ext cx="1183017" cy="67710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algn="ctr"/>
            <a:r>
              <a:rPr lang="cy-GB" sz="4400" dirty="0">
                <a:solidFill>
                  <a:srgbClr val="F6443B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80%</a:t>
            </a:r>
            <a:endParaRPr lang="en-US" sz="4400" dirty="0">
              <a:solidFill>
                <a:srgbClr val="F6443B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93100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2">
            <a:extLst>
              <a:ext uri="{FF2B5EF4-FFF2-40B4-BE49-F238E27FC236}">
                <a16:creationId xmlns:a16="http://schemas.microsoft.com/office/drawing/2014/main" id="{18F38126-25AF-464E-AB13-FE4602C248F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1900929"/>
            <a:ext cx="6438900" cy="495707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5CCCC2C-F9D7-422A-9F13-8625568B397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3134" y="2440447"/>
            <a:ext cx="4349682" cy="4891278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537700" y="1"/>
            <a:ext cx="2654300" cy="1726584"/>
          </a:xfrm>
          <a:prstGeom prst="rect">
            <a:avLst/>
          </a:prstGeom>
        </p:spPr>
      </p:pic>
      <p:sp>
        <p:nvSpPr>
          <p:cNvPr id="7" name="Rectángulo 3">
            <a:extLst>
              <a:ext uri="{FF2B5EF4-FFF2-40B4-BE49-F238E27FC236}">
                <a16:creationId xmlns:a16="http://schemas.microsoft.com/office/drawing/2014/main" id="{33CCE3E9-AA96-47FE-8409-0E97181EC367}"/>
              </a:ext>
            </a:extLst>
          </p:cNvPr>
          <p:cNvSpPr/>
          <p:nvPr/>
        </p:nvSpPr>
        <p:spPr>
          <a:xfrm>
            <a:off x="414596" y="579040"/>
            <a:ext cx="11362808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3200" b="1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tar</a:t>
            </a:r>
            <a:r>
              <a:rPr lang="en-US" sz="32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3200" b="1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elakang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embac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novel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tau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uku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dalah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obi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agi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eberapa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orang </a:t>
            </a:r>
            <a:r>
              <a:rPr lang="en-US" sz="16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palagi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ika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novel </a:t>
            </a:r>
            <a:r>
              <a:rPr lang="en-US" sz="16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rsebut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bisa </a:t>
            </a:r>
            <a:r>
              <a:rPr lang="en-US" sz="16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akses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apan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aja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an </a:t>
            </a:r>
            <a:r>
              <a:rPr lang="en-US" sz="16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dak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arus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mbuka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website yang </a:t>
            </a:r>
            <a:r>
              <a:rPr lang="en-US" sz="16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erbayar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leh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bab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tu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ay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erpikir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untuk membuat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plikas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reading novel agar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empermudah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embac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pert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ay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untuk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engakse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novel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kapa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aj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dan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iman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aj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dengan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enggunaka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handphone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7158A6D2-136D-4B8F-AFE3-D86F5DC90932}"/>
              </a:ext>
            </a:extLst>
          </p:cNvPr>
          <p:cNvGrpSpPr/>
          <p:nvPr/>
        </p:nvGrpSpPr>
        <p:grpSpPr>
          <a:xfrm>
            <a:off x="4600469" y="3396719"/>
            <a:ext cx="285750" cy="287338"/>
            <a:chOff x="3746500" y="1344613"/>
            <a:chExt cx="285750" cy="287338"/>
          </a:xfrm>
          <a:gradFill>
            <a:gsLst>
              <a:gs pos="0">
                <a:srgbClr val="0683B8"/>
              </a:gs>
              <a:gs pos="100000">
                <a:srgbClr val="7030A0"/>
              </a:gs>
            </a:gsLst>
            <a:lin ang="18900000" scaled="1"/>
          </a:gradFill>
        </p:grpSpPr>
        <p:sp>
          <p:nvSpPr>
            <p:cNvPr id="50" name="Freeform 497">
              <a:extLst>
                <a:ext uri="{FF2B5EF4-FFF2-40B4-BE49-F238E27FC236}">
                  <a16:creationId xmlns:a16="http://schemas.microsoft.com/office/drawing/2014/main" id="{5D9E124A-189C-47A6-BCC0-E9BF869CF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0" y="1344613"/>
              <a:ext cx="285750" cy="182563"/>
            </a:xfrm>
            <a:custGeom>
              <a:avLst/>
              <a:gdLst>
                <a:gd name="T0" fmla="*/ 0 w 903"/>
                <a:gd name="T1" fmla="*/ 0 h 573"/>
                <a:gd name="T2" fmla="*/ 0 w 903"/>
                <a:gd name="T3" fmla="*/ 467 h 573"/>
                <a:gd name="T4" fmla="*/ 1 w 903"/>
                <a:gd name="T5" fmla="*/ 459 h 573"/>
                <a:gd name="T6" fmla="*/ 2 w 903"/>
                <a:gd name="T7" fmla="*/ 453 h 573"/>
                <a:gd name="T8" fmla="*/ 5 w 903"/>
                <a:gd name="T9" fmla="*/ 446 h 573"/>
                <a:gd name="T10" fmla="*/ 8 w 903"/>
                <a:gd name="T11" fmla="*/ 440 h 573"/>
                <a:gd name="T12" fmla="*/ 12 w 903"/>
                <a:gd name="T13" fmla="*/ 434 h 573"/>
                <a:gd name="T14" fmla="*/ 18 w 903"/>
                <a:gd name="T15" fmla="*/ 428 h 573"/>
                <a:gd name="T16" fmla="*/ 23 w 903"/>
                <a:gd name="T17" fmla="*/ 423 h 573"/>
                <a:gd name="T18" fmla="*/ 30 w 903"/>
                <a:gd name="T19" fmla="*/ 419 h 573"/>
                <a:gd name="T20" fmla="*/ 30 w 903"/>
                <a:gd name="T21" fmla="*/ 30 h 573"/>
                <a:gd name="T22" fmla="*/ 873 w 903"/>
                <a:gd name="T23" fmla="*/ 30 h 573"/>
                <a:gd name="T24" fmla="*/ 873 w 903"/>
                <a:gd name="T25" fmla="*/ 543 h 573"/>
                <a:gd name="T26" fmla="*/ 481 w 903"/>
                <a:gd name="T27" fmla="*/ 543 h 573"/>
                <a:gd name="T28" fmla="*/ 481 w 903"/>
                <a:gd name="T29" fmla="*/ 573 h 573"/>
                <a:gd name="T30" fmla="*/ 903 w 903"/>
                <a:gd name="T31" fmla="*/ 573 h 573"/>
                <a:gd name="T32" fmla="*/ 903 w 903"/>
                <a:gd name="T33" fmla="*/ 0 h 573"/>
                <a:gd name="T34" fmla="*/ 0 w 903"/>
                <a:gd name="T35" fmla="*/ 0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03" h="573">
                  <a:moveTo>
                    <a:pt x="0" y="0"/>
                  </a:moveTo>
                  <a:lnTo>
                    <a:pt x="0" y="467"/>
                  </a:lnTo>
                  <a:lnTo>
                    <a:pt x="1" y="459"/>
                  </a:lnTo>
                  <a:lnTo>
                    <a:pt x="2" y="453"/>
                  </a:lnTo>
                  <a:lnTo>
                    <a:pt x="5" y="446"/>
                  </a:lnTo>
                  <a:lnTo>
                    <a:pt x="8" y="440"/>
                  </a:lnTo>
                  <a:lnTo>
                    <a:pt x="12" y="434"/>
                  </a:lnTo>
                  <a:lnTo>
                    <a:pt x="18" y="428"/>
                  </a:lnTo>
                  <a:lnTo>
                    <a:pt x="23" y="423"/>
                  </a:lnTo>
                  <a:lnTo>
                    <a:pt x="30" y="419"/>
                  </a:lnTo>
                  <a:lnTo>
                    <a:pt x="30" y="30"/>
                  </a:lnTo>
                  <a:lnTo>
                    <a:pt x="873" y="30"/>
                  </a:lnTo>
                  <a:lnTo>
                    <a:pt x="873" y="543"/>
                  </a:lnTo>
                  <a:lnTo>
                    <a:pt x="481" y="543"/>
                  </a:lnTo>
                  <a:lnTo>
                    <a:pt x="481" y="573"/>
                  </a:lnTo>
                  <a:lnTo>
                    <a:pt x="903" y="573"/>
                  </a:lnTo>
                  <a:lnTo>
                    <a:pt x="9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498">
              <a:extLst>
                <a:ext uri="{FF2B5EF4-FFF2-40B4-BE49-F238E27FC236}">
                  <a16:creationId xmlns:a16="http://schemas.microsoft.com/office/drawing/2014/main" id="{A47E030D-420D-43CA-ADEC-4457216085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5075" y="1373188"/>
              <a:ext cx="228600" cy="125413"/>
            </a:xfrm>
            <a:custGeom>
              <a:avLst/>
              <a:gdLst>
                <a:gd name="T0" fmla="*/ 330 w 723"/>
                <a:gd name="T1" fmla="*/ 283 h 392"/>
                <a:gd name="T2" fmla="*/ 295 w 723"/>
                <a:gd name="T3" fmla="*/ 263 h 392"/>
                <a:gd name="T4" fmla="*/ 269 w 723"/>
                <a:gd name="T5" fmla="*/ 232 h 392"/>
                <a:gd name="T6" fmla="*/ 257 w 723"/>
                <a:gd name="T7" fmla="*/ 192 h 392"/>
                <a:gd name="T8" fmla="*/ 260 w 723"/>
                <a:gd name="T9" fmla="*/ 151 h 392"/>
                <a:gd name="T10" fmla="*/ 281 w 723"/>
                <a:gd name="T11" fmla="*/ 115 h 392"/>
                <a:gd name="T12" fmla="*/ 312 w 723"/>
                <a:gd name="T13" fmla="*/ 90 h 392"/>
                <a:gd name="T14" fmla="*/ 350 w 723"/>
                <a:gd name="T15" fmla="*/ 77 h 392"/>
                <a:gd name="T16" fmla="*/ 392 w 723"/>
                <a:gd name="T17" fmla="*/ 81 h 392"/>
                <a:gd name="T18" fmla="*/ 429 w 723"/>
                <a:gd name="T19" fmla="*/ 100 h 392"/>
                <a:gd name="T20" fmla="*/ 454 w 723"/>
                <a:gd name="T21" fmla="*/ 131 h 392"/>
                <a:gd name="T22" fmla="*/ 466 w 723"/>
                <a:gd name="T23" fmla="*/ 171 h 392"/>
                <a:gd name="T24" fmla="*/ 462 w 723"/>
                <a:gd name="T25" fmla="*/ 213 h 392"/>
                <a:gd name="T26" fmla="*/ 443 w 723"/>
                <a:gd name="T27" fmla="*/ 248 h 392"/>
                <a:gd name="T28" fmla="*/ 412 w 723"/>
                <a:gd name="T29" fmla="*/ 274 h 392"/>
                <a:gd name="T30" fmla="*/ 372 w 723"/>
                <a:gd name="T31" fmla="*/ 287 h 392"/>
                <a:gd name="T32" fmla="*/ 96 w 723"/>
                <a:gd name="T33" fmla="*/ 151 h 392"/>
                <a:gd name="T34" fmla="*/ 68 w 723"/>
                <a:gd name="T35" fmla="*/ 131 h 392"/>
                <a:gd name="T36" fmla="*/ 61 w 723"/>
                <a:gd name="T37" fmla="*/ 97 h 392"/>
                <a:gd name="T38" fmla="*/ 80 w 723"/>
                <a:gd name="T39" fmla="*/ 69 h 392"/>
                <a:gd name="T40" fmla="*/ 114 w 723"/>
                <a:gd name="T41" fmla="*/ 63 h 392"/>
                <a:gd name="T42" fmla="*/ 143 w 723"/>
                <a:gd name="T43" fmla="*/ 81 h 392"/>
                <a:gd name="T44" fmla="*/ 150 w 723"/>
                <a:gd name="T45" fmla="*/ 115 h 392"/>
                <a:gd name="T46" fmla="*/ 131 w 723"/>
                <a:gd name="T47" fmla="*/ 144 h 392"/>
                <a:gd name="T48" fmla="*/ 106 w 723"/>
                <a:gd name="T49" fmla="*/ 152 h 392"/>
                <a:gd name="T50" fmla="*/ 642 w 723"/>
                <a:gd name="T51" fmla="*/ 249 h 392"/>
                <a:gd name="T52" fmla="*/ 661 w 723"/>
                <a:gd name="T53" fmla="*/ 278 h 392"/>
                <a:gd name="T54" fmla="*/ 655 w 723"/>
                <a:gd name="T55" fmla="*/ 313 h 392"/>
                <a:gd name="T56" fmla="*/ 626 w 723"/>
                <a:gd name="T57" fmla="*/ 331 h 392"/>
                <a:gd name="T58" fmla="*/ 592 w 723"/>
                <a:gd name="T59" fmla="*/ 324 h 392"/>
                <a:gd name="T60" fmla="*/ 573 w 723"/>
                <a:gd name="T61" fmla="*/ 297 h 392"/>
                <a:gd name="T62" fmla="*/ 580 w 723"/>
                <a:gd name="T63" fmla="*/ 262 h 392"/>
                <a:gd name="T64" fmla="*/ 608 w 723"/>
                <a:gd name="T65" fmla="*/ 243 h 392"/>
                <a:gd name="T66" fmla="*/ 669 w 723"/>
                <a:gd name="T67" fmla="*/ 392 h 392"/>
                <a:gd name="T68" fmla="*/ 691 w 723"/>
                <a:gd name="T69" fmla="*/ 386 h 392"/>
                <a:gd name="T70" fmla="*/ 709 w 723"/>
                <a:gd name="T71" fmla="*/ 371 h 392"/>
                <a:gd name="T72" fmla="*/ 720 w 723"/>
                <a:gd name="T73" fmla="*/ 350 h 392"/>
                <a:gd name="T74" fmla="*/ 723 w 723"/>
                <a:gd name="T75" fmla="*/ 62 h 392"/>
                <a:gd name="T76" fmla="*/ 718 w 723"/>
                <a:gd name="T77" fmla="*/ 38 h 392"/>
                <a:gd name="T78" fmla="*/ 705 w 723"/>
                <a:gd name="T79" fmla="*/ 19 h 392"/>
                <a:gd name="T80" fmla="*/ 686 w 723"/>
                <a:gd name="T81" fmla="*/ 6 h 392"/>
                <a:gd name="T82" fmla="*/ 663 w 723"/>
                <a:gd name="T83" fmla="*/ 2 h 392"/>
                <a:gd name="T84" fmla="*/ 43 w 723"/>
                <a:gd name="T85" fmla="*/ 4 h 392"/>
                <a:gd name="T86" fmla="*/ 22 w 723"/>
                <a:gd name="T87" fmla="*/ 14 h 392"/>
                <a:gd name="T88" fmla="*/ 7 w 723"/>
                <a:gd name="T89" fmla="*/ 33 h 392"/>
                <a:gd name="T90" fmla="*/ 1 w 723"/>
                <a:gd name="T91" fmla="*/ 55 h 392"/>
                <a:gd name="T92" fmla="*/ 46 w 723"/>
                <a:gd name="T93" fmla="*/ 294 h 392"/>
                <a:gd name="T94" fmla="*/ 151 w 723"/>
                <a:gd name="T95" fmla="*/ 287 h 392"/>
                <a:gd name="T96" fmla="*/ 244 w 723"/>
                <a:gd name="T97" fmla="*/ 293 h 392"/>
                <a:gd name="T98" fmla="*/ 326 w 723"/>
                <a:gd name="T99" fmla="*/ 312 h 392"/>
                <a:gd name="T100" fmla="*/ 373 w 723"/>
                <a:gd name="T101" fmla="*/ 337 h 392"/>
                <a:gd name="T102" fmla="*/ 389 w 723"/>
                <a:gd name="T103" fmla="*/ 36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3" h="392">
                  <a:moveTo>
                    <a:pt x="361" y="287"/>
                  </a:moveTo>
                  <a:lnTo>
                    <a:pt x="350" y="287"/>
                  </a:lnTo>
                  <a:lnTo>
                    <a:pt x="341" y="285"/>
                  </a:lnTo>
                  <a:lnTo>
                    <a:pt x="330" y="283"/>
                  </a:lnTo>
                  <a:lnTo>
                    <a:pt x="320" y="278"/>
                  </a:lnTo>
                  <a:lnTo>
                    <a:pt x="312" y="274"/>
                  </a:lnTo>
                  <a:lnTo>
                    <a:pt x="302" y="269"/>
                  </a:lnTo>
                  <a:lnTo>
                    <a:pt x="295" y="263"/>
                  </a:lnTo>
                  <a:lnTo>
                    <a:pt x="287" y="256"/>
                  </a:lnTo>
                  <a:lnTo>
                    <a:pt x="281" y="248"/>
                  </a:lnTo>
                  <a:lnTo>
                    <a:pt x="274" y="241"/>
                  </a:lnTo>
                  <a:lnTo>
                    <a:pt x="269" y="232"/>
                  </a:lnTo>
                  <a:lnTo>
                    <a:pt x="265" y="223"/>
                  </a:lnTo>
                  <a:lnTo>
                    <a:pt x="260" y="213"/>
                  </a:lnTo>
                  <a:lnTo>
                    <a:pt x="258" y="203"/>
                  </a:lnTo>
                  <a:lnTo>
                    <a:pt x="257" y="192"/>
                  </a:lnTo>
                  <a:lnTo>
                    <a:pt x="256" y="182"/>
                  </a:lnTo>
                  <a:lnTo>
                    <a:pt x="257" y="171"/>
                  </a:lnTo>
                  <a:lnTo>
                    <a:pt x="258" y="160"/>
                  </a:lnTo>
                  <a:lnTo>
                    <a:pt x="260" y="151"/>
                  </a:lnTo>
                  <a:lnTo>
                    <a:pt x="265" y="141"/>
                  </a:lnTo>
                  <a:lnTo>
                    <a:pt x="269" y="131"/>
                  </a:lnTo>
                  <a:lnTo>
                    <a:pt x="274" y="123"/>
                  </a:lnTo>
                  <a:lnTo>
                    <a:pt x="281" y="115"/>
                  </a:lnTo>
                  <a:lnTo>
                    <a:pt x="287" y="108"/>
                  </a:lnTo>
                  <a:lnTo>
                    <a:pt x="295" y="100"/>
                  </a:lnTo>
                  <a:lnTo>
                    <a:pt x="302" y="95"/>
                  </a:lnTo>
                  <a:lnTo>
                    <a:pt x="312" y="90"/>
                  </a:lnTo>
                  <a:lnTo>
                    <a:pt x="320" y="84"/>
                  </a:lnTo>
                  <a:lnTo>
                    <a:pt x="330" y="81"/>
                  </a:lnTo>
                  <a:lnTo>
                    <a:pt x="341" y="79"/>
                  </a:lnTo>
                  <a:lnTo>
                    <a:pt x="350" y="77"/>
                  </a:lnTo>
                  <a:lnTo>
                    <a:pt x="361" y="77"/>
                  </a:lnTo>
                  <a:lnTo>
                    <a:pt x="372" y="77"/>
                  </a:lnTo>
                  <a:lnTo>
                    <a:pt x="383" y="79"/>
                  </a:lnTo>
                  <a:lnTo>
                    <a:pt x="392" y="81"/>
                  </a:lnTo>
                  <a:lnTo>
                    <a:pt x="403" y="84"/>
                  </a:lnTo>
                  <a:lnTo>
                    <a:pt x="412" y="90"/>
                  </a:lnTo>
                  <a:lnTo>
                    <a:pt x="420" y="95"/>
                  </a:lnTo>
                  <a:lnTo>
                    <a:pt x="429" y="100"/>
                  </a:lnTo>
                  <a:lnTo>
                    <a:pt x="436" y="108"/>
                  </a:lnTo>
                  <a:lnTo>
                    <a:pt x="443" y="115"/>
                  </a:lnTo>
                  <a:lnTo>
                    <a:pt x="449" y="123"/>
                  </a:lnTo>
                  <a:lnTo>
                    <a:pt x="454" y="131"/>
                  </a:lnTo>
                  <a:lnTo>
                    <a:pt x="459" y="141"/>
                  </a:lnTo>
                  <a:lnTo>
                    <a:pt x="462" y="151"/>
                  </a:lnTo>
                  <a:lnTo>
                    <a:pt x="465" y="160"/>
                  </a:lnTo>
                  <a:lnTo>
                    <a:pt x="466" y="171"/>
                  </a:lnTo>
                  <a:lnTo>
                    <a:pt x="467" y="182"/>
                  </a:lnTo>
                  <a:lnTo>
                    <a:pt x="466" y="192"/>
                  </a:lnTo>
                  <a:lnTo>
                    <a:pt x="465" y="203"/>
                  </a:lnTo>
                  <a:lnTo>
                    <a:pt x="462" y="213"/>
                  </a:lnTo>
                  <a:lnTo>
                    <a:pt x="459" y="223"/>
                  </a:lnTo>
                  <a:lnTo>
                    <a:pt x="454" y="232"/>
                  </a:lnTo>
                  <a:lnTo>
                    <a:pt x="449" y="241"/>
                  </a:lnTo>
                  <a:lnTo>
                    <a:pt x="443" y="248"/>
                  </a:lnTo>
                  <a:lnTo>
                    <a:pt x="436" y="256"/>
                  </a:lnTo>
                  <a:lnTo>
                    <a:pt x="429" y="263"/>
                  </a:lnTo>
                  <a:lnTo>
                    <a:pt x="420" y="269"/>
                  </a:lnTo>
                  <a:lnTo>
                    <a:pt x="412" y="274"/>
                  </a:lnTo>
                  <a:lnTo>
                    <a:pt x="403" y="278"/>
                  </a:lnTo>
                  <a:lnTo>
                    <a:pt x="392" y="283"/>
                  </a:lnTo>
                  <a:lnTo>
                    <a:pt x="383" y="285"/>
                  </a:lnTo>
                  <a:lnTo>
                    <a:pt x="372" y="287"/>
                  </a:lnTo>
                  <a:lnTo>
                    <a:pt x="361" y="287"/>
                  </a:lnTo>
                  <a:lnTo>
                    <a:pt x="361" y="287"/>
                  </a:lnTo>
                  <a:close/>
                  <a:moveTo>
                    <a:pt x="106" y="152"/>
                  </a:moveTo>
                  <a:lnTo>
                    <a:pt x="96" y="151"/>
                  </a:lnTo>
                  <a:lnTo>
                    <a:pt x="88" y="149"/>
                  </a:lnTo>
                  <a:lnTo>
                    <a:pt x="80" y="144"/>
                  </a:lnTo>
                  <a:lnTo>
                    <a:pt x="74" y="139"/>
                  </a:lnTo>
                  <a:lnTo>
                    <a:pt x="68" y="131"/>
                  </a:lnTo>
                  <a:lnTo>
                    <a:pt x="64" y="124"/>
                  </a:lnTo>
                  <a:lnTo>
                    <a:pt x="61" y="115"/>
                  </a:lnTo>
                  <a:lnTo>
                    <a:pt x="61" y="107"/>
                  </a:lnTo>
                  <a:lnTo>
                    <a:pt x="61" y="97"/>
                  </a:lnTo>
                  <a:lnTo>
                    <a:pt x="64" y="88"/>
                  </a:lnTo>
                  <a:lnTo>
                    <a:pt x="68" y="81"/>
                  </a:lnTo>
                  <a:lnTo>
                    <a:pt x="74" y="74"/>
                  </a:lnTo>
                  <a:lnTo>
                    <a:pt x="80" y="69"/>
                  </a:lnTo>
                  <a:lnTo>
                    <a:pt x="88" y="65"/>
                  </a:lnTo>
                  <a:lnTo>
                    <a:pt x="96" y="63"/>
                  </a:lnTo>
                  <a:lnTo>
                    <a:pt x="106" y="62"/>
                  </a:lnTo>
                  <a:lnTo>
                    <a:pt x="114" y="63"/>
                  </a:lnTo>
                  <a:lnTo>
                    <a:pt x="123" y="65"/>
                  </a:lnTo>
                  <a:lnTo>
                    <a:pt x="131" y="69"/>
                  </a:lnTo>
                  <a:lnTo>
                    <a:pt x="137" y="74"/>
                  </a:lnTo>
                  <a:lnTo>
                    <a:pt x="143" y="81"/>
                  </a:lnTo>
                  <a:lnTo>
                    <a:pt x="147" y="88"/>
                  </a:lnTo>
                  <a:lnTo>
                    <a:pt x="150" y="97"/>
                  </a:lnTo>
                  <a:lnTo>
                    <a:pt x="151" y="107"/>
                  </a:lnTo>
                  <a:lnTo>
                    <a:pt x="150" y="115"/>
                  </a:lnTo>
                  <a:lnTo>
                    <a:pt x="148" y="124"/>
                  </a:lnTo>
                  <a:lnTo>
                    <a:pt x="143" y="131"/>
                  </a:lnTo>
                  <a:lnTo>
                    <a:pt x="137" y="139"/>
                  </a:lnTo>
                  <a:lnTo>
                    <a:pt x="131" y="144"/>
                  </a:lnTo>
                  <a:lnTo>
                    <a:pt x="123" y="149"/>
                  </a:lnTo>
                  <a:lnTo>
                    <a:pt x="114" y="151"/>
                  </a:lnTo>
                  <a:lnTo>
                    <a:pt x="106" y="152"/>
                  </a:lnTo>
                  <a:lnTo>
                    <a:pt x="106" y="152"/>
                  </a:lnTo>
                  <a:close/>
                  <a:moveTo>
                    <a:pt x="617" y="242"/>
                  </a:moveTo>
                  <a:lnTo>
                    <a:pt x="626" y="243"/>
                  </a:lnTo>
                  <a:lnTo>
                    <a:pt x="635" y="245"/>
                  </a:lnTo>
                  <a:lnTo>
                    <a:pt x="642" y="249"/>
                  </a:lnTo>
                  <a:lnTo>
                    <a:pt x="650" y="255"/>
                  </a:lnTo>
                  <a:lnTo>
                    <a:pt x="655" y="262"/>
                  </a:lnTo>
                  <a:lnTo>
                    <a:pt x="659" y="270"/>
                  </a:lnTo>
                  <a:lnTo>
                    <a:pt x="661" y="278"/>
                  </a:lnTo>
                  <a:lnTo>
                    <a:pt x="663" y="287"/>
                  </a:lnTo>
                  <a:lnTo>
                    <a:pt x="661" y="297"/>
                  </a:lnTo>
                  <a:lnTo>
                    <a:pt x="659" y="305"/>
                  </a:lnTo>
                  <a:lnTo>
                    <a:pt x="655" y="313"/>
                  </a:lnTo>
                  <a:lnTo>
                    <a:pt x="650" y="319"/>
                  </a:lnTo>
                  <a:lnTo>
                    <a:pt x="642" y="324"/>
                  </a:lnTo>
                  <a:lnTo>
                    <a:pt x="635" y="329"/>
                  </a:lnTo>
                  <a:lnTo>
                    <a:pt x="626" y="331"/>
                  </a:lnTo>
                  <a:lnTo>
                    <a:pt x="617" y="332"/>
                  </a:lnTo>
                  <a:lnTo>
                    <a:pt x="608" y="331"/>
                  </a:lnTo>
                  <a:lnTo>
                    <a:pt x="600" y="329"/>
                  </a:lnTo>
                  <a:lnTo>
                    <a:pt x="592" y="324"/>
                  </a:lnTo>
                  <a:lnTo>
                    <a:pt x="585" y="319"/>
                  </a:lnTo>
                  <a:lnTo>
                    <a:pt x="580" y="313"/>
                  </a:lnTo>
                  <a:lnTo>
                    <a:pt x="576" y="305"/>
                  </a:lnTo>
                  <a:lnTo>
                    <a:pt x="573" y="297"/>
                  </a:lnTo>
                  <a:lnTo>
                    <a:pt x="572" y="287"/>
                  </a:lnTo>
                  <a:lnTo>
                    <a:pt x="573" y="278"/>
                  </a:lnTo>
                  <a:lnTo>
                    <a:pt x="576" y="270"/>
                  </a:lnTo>
                  <a:lnTo>
                    <a:pt x="580" y="262"/>
                  </a:lnTo>
                  <a:lnTo>
                    <a:pt x="585" y="255"/>
                  </a:lnTo>
                  <a:lnTo>
                    <a:pt x="592" y="249"/>
                  </a:lnTo>
                  <a:lnTo>
                    <a:pt x="600" y="245"/>
                  </a:lnTo>
                  <a:lnTo>
                    <a:pt x="608" y="243"/>
                  </a:lnTo>
                  <a:lnTo>
                    <a:pt x="617" y="242"/>
                  </a:lnTo>
                  <a:close/>
                  <a:moveTo>
                    <a:pt x="391" y="392"/>
                  </a:moveTo>
                  <a:lnTo>
                    <a:pt x="663" y="392"/>
                  </a:lnTo>
                  <a:lnTo>
                    <a:pt x="669" y="392"/>
                  </a:lnTo>
                  <a:lnTo>
                    <a:pt x="674" y="391"/>
                  </a:lnTo>
                  <a:lnTo>
                    <a:pt x="681" y="390"/>
                  </a:lnTo>
                  <a:lnTo>
                    <a:pt x="686" y="388"/>
                  </a:lnTo>
                  <a:lnTo>
                    <a:pt x="691" y="386"/>
                  </a:lnTo>
                  <a:lnTo>
                    <a:pt x="697" y="382"/>
                  </a:lnTo>
                  <a:lnTo>
                    <a:pt x="701" y="379"/>
                  </a:lnTo>
                  <a:lnTo>
                    <a:pt x="705" y="375"/>
                  </a:lnTo>
                  <a:lnTo>
                    <a:pt x="709" y="371"/>
                  </a:lnTo>
                  <a:lnTo>
                    <a:pt x="713" y="366"/>
                  </a:lnTo>
                  <a:lnTo>
                    <a:pt x="715" y="361"/>
                  </a:lnTo>
                  <a:lnTo>
                    <a:pt x="718" y="356"/>
                  </a:lnTo>
                  <a:lnTo>
                    <a:pt x="720" y="350"/>
                  </a:lnTo>
                  <a:lnTo>
                    <a:pt x="721" y="345"/>
                  </a:lnTo>
                  <a:lnTo>
                    <a:pt x="723" y="338"/>
                  </a:lnTo>
                  <a:lnTo>
                    <a:pt x="723" y="332"/>
                  </a:lnTo>
                  <a:lnTo>
                    <a:pt x="723" y="62"/>
                  </a:lnTo>
                  <a:lnTo>
                    <a:pt x="723" y="55"/>
                  </a:lnTo>
                  <a:lnTo>
                    <a:pt x="721" y="49"/>
                  </a:lnTo>
                  <a:lnTo>
                    <a:pt x="720" y="43"/>
                  </a:lnTo>
                  <a:lnTo>
                    <a:pt x="718" y="38"/>
                  </a:lnTo>
                  <a:lnTo>
                    <a:pt x="715" y="33"/>
                  </a:lnTo>
                  <a:lnTo>
                    <a:pt x="713" y="27"/>
                  </a:lnTo>
                  <a:lnTo>
                    <a:pt x="709" y="23"/>
                  </a:lnTo>
                  <a:lnTo>
                    <a:pt x="705" y="19"/>
                  </a:lnTo>
                  <a:lnTo>
                    <a:pt x="701" y="14"/>
                  </a:lnTo>
                  <a:lnTo>
                    <a:pt x="697" y="11"/>
                  </a:lnTo>
                  <a:lnTo>
                    <a:pt x="691" y="8"/>
                  </a:lnTo>
                  <a:lnTo>
                    <a:pt x="686" y="6"/>
                  </a:lnTo>
                  <a:lnTo>
                    <a:pt x="681" y="4"/>
                  </a:lnTo>
                  <a:lnTo>
                    <a:pt x="674" y="3"/>
                  </a:lnTo>
                  <a:lnTo>
                    <a:pt x="669" y="2"/>
                  </a:lnTo>
                  <a:lnTo>
                    <a:pt x="663" y="2"/>
                  </a:lnTo>
                  <a:lnTo>
                    <a:pt x="61" y="0"/>
                  </a:lnTo>
                  <a:lnTo>
                    <a:pt x="54" y="2"/>
                  </a:lnTo>
                  <a:lnTo>
                    <a:pt x="48" y="3"/>
                  </a:lnTo>
                  <a:lnTo>
                    <a:pt x="43" y="4"/>
                  </a:lnTo>
                  <a:lnTo>
                    <a:pt x="37" y="6"/>
                  </a:lnTo>
                  <a:lnTo>
                    <a:pt x="32" y="8"/>
                  </a:lnTo>
                  <a:lnTo>
                    <a:pt x="27" y="11"/>
                  </a:lnTo>
                  <a:lnTo>
                    <a:pt x="22" y="14"/>
                  </a:lnTo>
                  <a:lnTo>
                    <a:pt x="18" y="19"/>
                  </a:lnTo>
                  <a:lnTo>
                    <a:pt x="14" y="23"/>
                  </a:lnTo>
                  <a:lnTo>
                    <a:pt x="10" y="27"/>
                  </a:lnTo>
                  <a:lnTo>
                    <a:pt x="7" y="33"/>
                  </a:lnTo>
                  <a:lnTo>
                    <a:pt x="5" y="38"/>
                  </a:lnTo>
                  <a:lnTo>
                    <a:pt x="3" y="43"/>
                  </a:lnTo>
                  <a:lnTo>
                    <a:pt x="2" y="49"/>
                  </a:lnTo>
                  <a:lnTo>
                    <a:pt x="1" y="55"/>
                  </a:lnTo>
                  <a:lnTo>
                    <a:pt x="0" y="62"/>
                  </a:lnTo>
                  <a:lnTo>
                    <a:pt x="0" y="304"/>
                  </a:lnTo>
                  <a:lnTo>
                    <a:pt x="22" y="299"/>
                  </a:lnTo>
                  <a:lnTo>
                    <a:pt x="46" y="294"/>
                  </a:lnTo>
                  <a:lnTo>
                    <a:pt x="68" y="291"/>
                  </a:lnTo>
                  <a:lnTo>
                    <a:pt x="90" y="290"/>
                  </a:lnTo>
                  <a:lnTo>
                    <a:pt x="126" y="288"/>
                  </a:lnTo>
                  <a:lnTo>
                    <a:pt x="151" y="287"/>
                  </a:lnTo>
                  <a:lnTo>
                    <a:pt x="172" y="288"/>
                  </a:lnTo>
                  <a:lnTo>
                    <a:pt x="206" y="289"/>
                  </a:lnTo>
                  <a:lnTo>
                    <a:pt x="225" y="291"/>
                  </a:lnTo>
                  <a:lnTo>
                    <a:pt x="244" y="293"/>
                  </a:lnTo>
                  <a:lnTo>
                    <a:pt x="266" y="297"/>
                  </a:lnTo>
                  <a:lnTo>
                    <a:pt x="286" y="300"/>
                  </a:lnTo>
                  <a:lnTo>
                    <a:pt x="306" y="305"/>
                  </a:lnTo>
                  <a:lnTo>
                    <a:pt x="326" y="312"/>
                  </a:lnTo>
                  <a:lnTo>
                    <a:pt x="344" y="318"/>
                  </a:lnTo>
                  <a:lnTo>
                    <a:pt x="360" y="327"/>
                  </a:lnTo>
                  <a:lnTo>
                    <a:pt x="366" y="332"/>
                  </a:lnTo>
                  <a:lnTo>
                    <a:pt x="373" y="337"/>
                  </a:lnTo>
                  <a:lnTo>
                    <a:pt x="378" y="343"/>
                  </a:lnTo>
                  <a:lnTo>
                    <a:pt x="383" y="349"/>
                  </a:lnTo>
                  <a:lnTo>
                    <a:pt x="387" y="356"/>
                  </a:lnTo>
                  <a:lnTo>
                    <a:pt x="389" y="362"/>
                  </a:lnTo>
                  <a:lnTo>
                    <a:pt x="391" y="369"/>
                  </a:lnTo>
                  <a:lnTo>
                    <a:pt x="391" y="377"/>
                  </a:lnTo>
                  <a:lnTo>
                    <a:pt x="391" y="3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499">
              <a:extLst>
                <a:ext uri="{FF2B5EF4-FFF2-40B4-BE49-F238E27FC236}">
                  <a16:creationId xmlns:a16="http://schemas.microsoft.com/office/drawing/2014/main" id="{B411F2F2-5598-477F-9137-E80DD9F9BD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98613"/>
              <a:ext cx="133350" cy="33338"/>
            </a:xfrm>
            <a:custGeom>
              <a:avLst/>
              <a:gdLst>
                <a:gd name="T0" fmla="*/ 0 w 421"/>
                <a:gd name="T1" fmla="*/ 44 h 104"/>
                <a:gd name="T2" fmla="*/ 2 w 421"/>
                <a:gd name="T3" fmla="*/ 52 h 104"/>
                <a:gd name="T4" fmla="*/ 5 w 421"/>
                <a:gd name="T5" fmla="*/ 56 h 104"/>
                <a:gd name="T6" fmla="*/ 6 w 421"/>
                <a:gd name="T7" fmla="*/ 59 h 104"/>
                <a:gd name="T8" fmla="*/ 11 w 421"/>
                <a:gd name="T9" fmla="*/ 65 h 104"/>
                <a:gd name="T10" fmla="*/ 13 w 421"/>
                <a:gd name="T11" fmla="*/ 65 h 104"/>
                <a:gd name="T12" fmla="*/ 31 w 421"/>
                <a:gd name="T13" fmla="*/ 76 h 104"/>
                <a:gd name="T14" fmla="*/ 32 w 421"/>
                <a:gd name="T15" fmla="*/ 77 h 104"/>
                <a:gd name="T16" fmla="*/ 41 w 421"/>
                <a:gd name="T17" fmla="*/ 80 h 104"/>
                <a:gd name="T18" fmla="*/ 45 w 421"/>
                <a:gd name="T19" fmla="*/ 81 h 104"/>
                <a:gd name="T20" fmla="*/ 53 w 421"/>
                <a:gd name="T21" fmla="*/ 84 h 104"/>
                <a:gd name="T22" fmla="*/ 61 w 421"/>
                <a:gd name="T23" fmla="*/ 86 h 104"/>
                <a:gd name="T24" fmla="*/ 66 w 421"/>
                <a:gd name="T25" fmla="*/ 87 h 104"/>
                <a:gd name="T26" fmla="*/ 98 w 421"/>
                <a:gd name="T27" fmla="*/ 95 h 104"/>
                <a:gd name="T28" fmla="*/ 133 w 421"/>
                <a:gd name="T29" fmla="*/ 99 h 104"/>
                <a:gd name="T30" fmla="*/ 197 w 421"/>
                <a:gd name="T31" fmla="*/ 104 h 104"/>
                <a:gd name="T32" fmla="*/ 211 w 421"/>
                <a:gd name="T33" fmla="*/ 104 h 104"/>
                <a:gd name="T34" fmla="*/ 225 w 421"/>
                <a:gd name="T35" fmla="*/ 104 h 104"/>
                <a:gd name="T36" fmla="*/ 289 w 421"/>
                <a:gd name="T37" fmla="*/ 99 h 104"/>
                <a:gd name="T38" fmla="*/ 322 w 421"/>
                <a:gd name="T39" fmla="*/ 95 h 104"/>
                <a:gd name="T40" fmla="*/ 356 w 421"/>
                <a:gd name="T41" fmla="*/ 87 h 104"/>
                <a:gd name="T42" fmla="*/ 360 w 421"/>
                <a:gd name="T43" fmla="*/ 86 h 104"/>
                <a:gd name="T44" fmla="*/ 368 w 421"/>
                <a:gd name="T45" fmla="*/ 84 h 104"/>
                <a:gd name="T46" fmla="*/ 376 w 421"/>
                <a:gd name="T47" fmla="*/ 81 h 104"/>
                <a:gd name="T48" fmla="*/ 379 w 421"/>
                <a:gd name="T49" fmla="*/ 80 h 104"/>
                <a:gd name="T50" fmla="*/ 390 w 421"/>
                <a:gd name="T51" fmla="*/ 77 h 104"/>
                <a:gd name="T52" fmla="*/ 391 w 421"/>
                <a:gd name="T53" fmla="*/ 76 h 104"/>
                <a:gd name="T54" fmla="*/ 409 w 421"/>
                <a:gd name="T55" fmla="*/ 65 h 104"/>
                <a:gd name="T56" fmla="*/ 409 w 421"/>
                <a:gd name="T57" fmla="*/ 65 h 104"/>
                <a:gd name="T58" fmla="*/ 416 w 421"/>
                <a:gd name="T59" fmla="*/ 59 h 104"/>
                <a:gd name="T60" fmla="*/ 417 w 421"/>
                <a:gd name="T61" fmla="*/ 56 h 104"/>
                <a:gd name="T62" fmla="*/ 420 w 421"/>
                <a:gd name="T63" fmla="*/ 52 h 104"/>
                <a:gd name="T64" fmla="*/ 421 w 421"/>
                <a:gd name="T65" fmla="*/ 44 h 104"/>
                <a:gd name="T66" fmla="*/ 410 w 421"/>
                <a:gd name="T67" fmla="*/ 4 h 104"/>
                <a:gd name="T68" fmla="*/ 386 w 421"/>
                <a:gd name="T69" fmla="*/ 10 h 104"/>
                <a:gd name="T70" fmla="*/ 344 w 421"/>
                <a:gd name="T71" fmla="*/ 19 h 104"/>
                <a:gd name="T72" fmla="*/ 284 w 421"/>
                <a:gd name="T73" fmla="*/ 25 h 104"/>
                <a:gd name="T74" fmla="*/ 231 w 421"/>
                <a:gd name="T75" fmla="*/ 28 h 104"/>
                <a:gd name="T76" fmla="*/ 191 w 421"/>
                <a:gd name="T77" fmla="*/ 28 h 104"/>
                <a:gd name="T78" fmla="*/ 138 w 421"/>
                <a:gd name="T79" fmla="*/ 25 h 104"/>
                <a:gd name="T80" fmla="*/ 78 w 421"/>
                <a:gd name="T81" fmla="*/ 19 h 104"/>
                <a:gd name="T82" fmla="*/ 35 w 421"/>
                <a:gd name="T83" fmla="*/ 10 h 104"/>
                <a:gd name="T84" fmla="*/ 10 w 421"/>
                <a:gd name="T85" fmla="*/ 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1" h="104">
                  <a:moveTo>
                    <a:pt x="0" y="0"/>
                  </a:moveTo>
                  <a:lnTo>
                    <a:pt x="0" y="44"/>
                  </a:lnTo>
                  <a:lnTo>
                    <a:pt x="1" y="48"/>
                  </a:lnTo>
                  <a:lnTo>
                    <a:pt x="2" y="52"/>
                  </a:lnTo>
                  <a:lnTo>
                    <a:pt x="3" y="54"/>
                  </a:lnTo>
                  <a:lnTo>
                    <a:pt x="5" y="56"/>
                  </a:lnTo>
                  <a:lnTo>
                    <a:pt x="5" y="57"/>
                  </a:lnTo>
                  <a:lnTo>
                    <a:pt x="6" y="59"/>
                  </a:lnTo>
                  <a:lnTo>
                    <a:pt x="8" y="62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3" y="65"/>
                  </a:lnTo>
                  <a:lnTo>
                    <a:pt x="20" y="70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2" y="77"/>
                  </a:lnTo>
                  <a:lnTo>
                    <a:pt x="36" y="79"/>
                  </a:lnTo>
                  <a:lnTo>
                    <a:pt x="41" y="80"/>
                  </a:lnTo>
                  <a:lnTo>
                    <a:pt x="44" y="81"/>
                  </a:lnTo>
                  <a:lnTo>
                    <a:pt x="45" y="81"/>
                  </a:lnTo>
                  <a:lnTo>
                    <a:pt x="49" y="83"/>
                  </a:lnTo>
                  <a:lnTo>
                    <a:pt x="53" y="84"/>
                  </a:lnTo>
                  <a:lnTo>
                    <a:pt x="58" y="85"/>
                  </a:lnTo>
                  <a:lnTo>
                    <a:pt x="61" y="86"/>
                  </a:lnTo>
                  <a:lnTo>
                    <a:pt x="64" y="87"/>
                  </a:lnTo>
                  <a:lnTo>
                    <a:pt x="66" y="87"/>
                  </a:lnTo>
                  <a:lnTo>
                    <a:pt x="82" y="92"/>
                  </a:lnTo>
                  <a:lnTo>
                    <a:pt x="98" y="95"/>
                  </a:lnTo>
                  <a:lnTo>
                    <a:pt x="115" y="97"/>
                  </a:lnTo>
                  <a:lnTo>
                    <a:pt x="133" y="99"/>
                  </a:lnTo>
                  <a:lnTo>
                    <a:pt x="166" y="102"/>
                  </a:lnTo>
                  <a:lnTo>
                    <a:pt x="197" y="104"/>
                  </a:lnTo>
                  <a:lnTo>
                    <a:pt x="203" y="104"/>
                  </a:lnTo>
                  <a:lnTo>
                    <a:pt x="211" y="104"/>
                  </a:lnTo>
                  <a:lnTo>
                    <a:pt x="217" y="104"/>
                  </a:lnTo>
                  <a:lnTo>
                    <a:pt x="225" y="104"/>
                  </a:lnTo>
                  <a:lnTo>
                    <a:pt x="255" y="102"/>
                  </a:lnTo>
                  <a:lnTo>
                    <a:pt x="289" y="99"/>
                  </a:lnTo>
                  <a:lnTo>
                    <a:pt x="306" y="97"/>
                  </a:lnTo>
                  <a:lnTo>
                    <a:pt x="322" y="95"/>
                  </a:lnTo>
                  <a:lnTo>
                    <a:pt x="340" y="92"/>
                  </a:lnTo>
                  <a:lnTo>
                    <a:pt x="356" y="87"/>
                  </a:lnTo>
                  <a:lnTo>
                    <a:pt x="358" y="87"/>
                  </a:lnTo>
                  <a:lnTo>
                    <a:pt x="360" y="86"/>
                  </a:lnTo>
                  <a:lnTo>
                    <a:pt x="364" y="85"/>
                  </a:lnTo>
                  <a:lnTo>
                    <a:pt x="368" y="84"/>
                  </a:lnTo>
                  <a:lnTo>
                    <a:pt x="372" y="83"/>
                  </a:lnTo>
                  <a:lnTo>
                    <a:pt x="376" y="81"/>
                  </a:lnTo>
                  <a:lnTo>
                    <a:pt x="378" y="81"/>
                  </a:lnTo>
                  <a:lnTo>
                    <a:pt x="379" y="80"/>
                  </a:lnTo>
                  <a:lnTo>
                    <a:pt x="385" y="79"/>
                  </a:lnTo>
                  <a:lnTo>
                    <a:pt x="390" y="77"/>
                  </a:lnTo>
                  <a:lnTo>
                    <a:pt x="390" y="76"/>
                  </a:lnTo>
                  <a:lnTo>
                    <a:pt x="391" y="76"/>
                  </a:lnTo>
                  <a:lnTo>
                    <a:pt x="401" y="70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13" y="62"/>
                  </a:lnTo>
                  <a:lnTo>
                    <a:pt x="416" y="59"/>
                  </a:lnTo>
                  <a:lnTo>
                    <a:pt x="417" y="57"/>
                  </a:lnTo>
                  <a:lnTo>
                    <a:pt x="417" y="56"/>
                  </a:lnTo>
                  <a:lnTo>
                    <a:pt x="419" y="54"/>
                  </a:lnTo>
                  <a:lnTo>
                    <a:pt x="420" y="52"/>
                  </a:lnTo>
                  <a:lnTo>
                    <a:pt x="421" y="48"/>
                  </a:lnTo>
                  <a:lnTo>
                    <a:pt x="421" y="44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7"/>
                  </a:lnTo>
                  <a:lnTo>
                    <a:pt x="386" y="10"/>
                  </a:lnTo>
                  <a:lnTo>
                    <a:pt x="373" y="13"/>
                  </a:lnTo>
                  <a:lnTo>
                    <a:pt x="344" y="19"/>
                  </a:lnTo>
                  <a:lnTo>
                    <a:pt x="314" y="23"/>
                  </a:lnTo>
                  <a:lnTo>
                    <a:pt x="284" y="25"/>
                  </a:lnTo>
                  <a:lnTo>
                    <a:pt x="256" y="27"/>
                  </a:lnTo>
                  <a:lnTo>
                    <a:pt x="231" y="28"/>
                  </a:lnTo>
                  <a:lnTo>
                    <a:pt x="211" y="28"/>
                  </a:lnTo>
                  <a:lnTo>
                    <a:pt x="191" y="28"/>
                  </a:lnTo>
                  <a:lnTo>
                    <a:pt x="166" y="27"/>
                  </a:lnTo>
                  <a:lnTo>
                    <a:pt x="138" y="25"/>
                  </a:lnTo>
                  <a:lnTo>
                    <a:pt x="108" y="23"/>
                  </a:lnTo>
                  <a:lnTo>
                    <a:pt x="78" y="19"/>
                  </a:lnTo>
                  <a:lnTo>
                    <a:pt x="49" y="13"/>
                  </a:lnTo>
                  <a:lnTo>
                    <a:pt x="35" y="10"/>
                  </a:lnTo>
                  <a:lnTo>
                    <a:pt x="22" y="7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500">
              <a:extLst>
                <a:ext uri="{FF2B5EF4-FFF2-40B4-BE49-F238E27FC236}">
                  <a16:creationId xmlns:a16="http://schemas.microsoft.com/office/drawing/2014/main" id="{A58C81C6-1A87-438C-8117-DAFDDDA980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474788"/>
              <a:ext cx="133350" cy="28575"/>
            </a:xfrm>
            <a:custGeom>
              <a:avLst/>
              <a:gdLst>
                <a:gd name="T0" fmla="*/ 420 w 420"/>
                <a:gd name="T1" fmla="*/ 58 h 90"/>
                <a:gd name="T2" fmla="*/ 419 w 420"/>
                <a:gd name="T3" fmla="*/ 55 h 90"/>
                <a:gd name="T4" fmla="*/ 418 w 420"/>
                <a:gd name="T5" fmla="*/ 50 h 90"/>
                <a:gd name="T6" fmla="*/ 416 w 420"/>
                <a:gd name="T7" fmla="*/ 47 h 90"/>
                <a:gd name="T8" fmla="*/ 413 w 420"/>
                <a:gd name="T9" fmla="*/ 44 h 90"/>
                <a:gd name="T10" fmla="*/ 406 w 420"/>
                <a:gd name="T11" fmla="*/ 37 h 90"/>
                <a:gd name="T12" fmla="*/ 397 w 420"/>
                <a:gd name="T13" fmla="*/ 32 h 90"/>
                <a:gd name="T14" fmla="*/ 386 w 420"/>
                <a:gd name="T15" fmla="*/ 27 h 90"/>
                <a:gd name="T16" fmla="*/ 374 w 420"/>
                <a:gd name="T17" fmla="*/ 22 h 90"/>
                <a:gd name="T18" fmla="*/ 360 w 420"/>
                <a:gd name="T19" fmla="*/ 18 h 90"/>
                <a:gd name="T20" fmla="*/ 345 w 420"/>
                <a:gd name="T21" fmla="*/ 14 h 90"/>
                <a:gd name="T22" fmla="*/ 313 w 420"/>
                <a:gd name="T23" fmla="*/ 9 h 90"/>
                <a:gd name="T24" fmla="*/ 277 w 420"/>
                <a:gd name="T25" fmla="*/ 3 h 90"/>
                <a:gd name="T26" fmla="*/ 243 w 420"/>
                <a:gd name="T27" fmla="*/ 1 h 90"/>
                <a:gd name="T28" fmla="*/ 210 w 420"/>
                <a:gd name="T29" fmla="*/ 0 h 90"/>
                <a:gd name="T30" fmla="*/ 172 w 420"/>
                <a:gd name="T31" fmla="*/ 1 h 90"/>
                <a:gd name="T32" fmla="*/ 133 w 420"/>
                <a:gd name="T33" fmla="*/ 4 h 90"/>
                <a:gd name="T34" fmla="*/ 113 w 420"/>
                <a:gd name="T35" fmla="*/ 7 h 90"/>
                <a:gd name="T36" fmla="*/ 94 w 420"/>
                <a:gd name="T37" fmla="*/ 11 h 90"/>
                <a:gd name="T38" fmla="*/ 76 w 420"/>
                <a:gd name="T39" fmla="*/ 14 h 90"/>
                <a:gd name="T40" fmla="*/ 59 w 420"/>
                <a:gd name="T41" fmla="*/ 18 h 90"/>
                <a:gd name="T42" fmla="*/ 59 w 420"/>
                <a:gd name="T43" fmla="*/ 18 h 90"/>
                <a:gd name="T44" fmla="*/ 55 w 420"/>
                <a:gd name="T45" fmla="*/ 19 h 90"/>
                <a:gd name="T46" fmla="*/ 52 w 420"/>
                <a:gd name="T47" fmla="*/ 20 h 90"/>
                <a:gd name="T48" fmla="*/ 48 w 420"/>
                <a:gd name="T49" fmla="*/ 21 h 90"/>
                <a:gd name="T50" fmla="*/ 44 w 420"/>
                <a:gd name="T51" fmla="*/ 22 h 90"/>
                <a:gd name="T52" fmla="*/ 43 w 420"/>
                <a:gd name="T53" fmla="*/ 24 h 90"/>
                <a:gd name="T54" fmla="*/ 40 w 420"/>
                <a:gd name="T55" fmla="*/ 24 h 90"/>
                <a:gd name="T56" fmla="*/ 35 w 420"/>
                <a:gd name="T57" fmla="*/ 26 h 90"/>
                <a:gd name="T58" fmla="*/ 31 w 420"/>
                <a:gd name="T59" fmla="*/ 28 h 90"/>
                <a:gd name="T60" fmla="*/ 30 w 420"/>
                <a:gd name="T61" fmla="*/ 28 h 90"/>
                <a:gd name="T62" fmla="*/ 30 w 420"/>
                <a:gd name="T63" fmla="*/ 28 h 90"/>
                <a:gd name="T64" fmla="*/ 19 w 420"/>
                <a:gd name="T65" fmla="*/ 33 h 90"/>
                <a:gd name="T66" fmla="*/ 12 w 420"/>
                <a:gd name="T67" fmla="*/ 40 h 90"/>
                <a:gd name="T68" fmla="*/ 10 w 420"/>
                <a:gd name="T69" fmla="*/ 40 h 90"/>
                <a:gd name="T70" fmla="*/ 10 w 420"/>
                <a:gd name="T71" fmla="*/ 40 h 90"/>
                <a:gd name="T72" fmla="*/ 7 w 420"/>
                <a:gd name="T73" fmla="*/ 43 h 90"/>
                <a:gd name="T74" fmla="*/ 5 w 420"/>
                <a:gd name="T75" fmla="*/ 46 h 90"/>
                <a:gd name="T76" fmla="*/ 4 w 420"/>
                <a:gd name="T77" fmla="*/ 47 h 90"/>
                <a:gd name="T78" fmla="*/ 4 w 420"/>
                <a:gd name="T79" fmla="*/ 48 h 90"/>
                <a:gd name="T80" fmla="*/ 2 w 420"/>
                <a:gd name="T81" fmla="*/ 50 h 90"/>
                <a:gd name="T82" fmla="*/ 1 w 420"/>
                <a:gd name="T83" fmla="*/ 52 h 90"/>
                <a:gd name="T84" fmla="*/ 0 w 420"/>
                <a:gd name="T85" fmla="*/ 56 h 90"/>
                <a:gd name="T86" fmla="*/ 0 w 420"/>
                <a:gd name="T87" fmla="*/ 58 h 90"/>
                <a:gd name="T88" fmla="*/ 8 w 420"/>
                <a:gd name="T89" fmla="*/ 63 h 90"/>
                <a:gd name="T90" fmla="*/ 22 w 420"/>
                <a:gd name="T91" fmla="*/ 68 h 90"/>
                <a:gd name="T92" fmla="*/ 43 w 420"/>
                <a:gd name="T93" fmla="*/ 74 h 90"/>
                <a:gd name="T94" fmla="*/ 67 w 420"/>
                <a:gd name="T95" fmla="*/ 78 h 90"/>
                <a:gd name="T96" fmla="*/ 96 w 420"/>
                <a:gd name="T97" fmla="*/ 84 h 90"/>
                <a:gd name="T98" fmla="*/ 131 w 420"/>
                <a:gd name="T99" fmla="*/ 87 h 90"/>
                <a:gd name="T100" fmla="*/ 168 w 420"/>
                <a:gd name="T101" fmla="*/ 90 h 90"/>
                <a:gd name="T102" fmla="*/ 210 w 420"/>
                <a:gd name="T103" fmla="*/ 90 h 90"/>
                <a:gd name="T104" fmla="*/ 251 w 420"/>
                <a:gd name="T105" fmla="*/ 90 h 90"/>
                <a:gd name="T106" fmla="*/ 289 w 420"/>
                <a:gd name="T107" fmla="*/ 87 h 90"/>
                <a:gd name="T108" fmla="*/ 323 w 420"/>
                <a:gd name="T109" fmla="*/ 84 h 90"/>
                <a:gd name="T110" fmla="*/ 353 w 420"/>
                <a:gd name="T111" fmla="*/ 78 h 90"/>
                <a:gd name="T112" fmla="*/ 377 w 420"/>
                <a:gd name="T113" fmla="*/ 74 h 90"/>
                <a:gd name="T114" fmla="*/ 398 w 420"/>
                <a:gd name="T115" fmla="*/ 68 h 90"/>
                <a:gd name="T116" fmla="*/ 412 w 420"/>
                <a:gd name="T117" fmla="*/ 62 h 90"/>
                <a:gd name="T118" fmla="*/ 420 w 420"/>
                <a:gd name="T119" fmla="*/ 5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0" h="90">
                  <a:moveTo>
                    <a:pt x="420" y="58"/>
                  </a:moveTo>
                  <a:lnTo>
                    <a:pt x="419" y="55"/>
                  </a:lnTo>
                  <a:lnTo>
                    <a:pt x="418" y="50"/>
                  </a:lnTo>
                  <a:lnTo>
                    <a:pt x="416" y="47"/>
                  </a:lnTo>
                  <a:lnTo>
                    <a:pt x="413" y="44"/>
                  </a:lnTo>
                  <a:lnTo>
                    <a:pt x="406" y="37"/>
                  </a:lnTo>
                  <a:lnTo>
                    <a:pt x="397" y="32"/>
                  </a:lnTo>
                  <a:lnTo>
                    <a:pt x="386" y="27"/>
                  </a:lnTo>
                  <a:lnTo>
                    <a:pt x="374" y="22"/>
                  </a:lnTo>
                  <a:lnTo>
                    <a:pt x="360" y="18"/>
                  </a:lnTo>
                  <a:lnTo>
                    <a:pt x="345" y="14"/>
                  </a:lnTo>
                  <a:lnTo>
                    <a:pt x="313" y="9"/>
                  </a:lnTo>
                  <a:lnTo>
                    <a:pt x="277" y="3"/>
                  </a:lnTo>
                  <a:lnTo>
                    <a:pt x="243" y="1"/>
                  </a:lnTo>
                  <a:lnTo>
                    <a:pt x="210" y="0"/>
                  </a:lnTo>
                  <a:lnTo>
                    <a:pt x="172" y="1"/>
                  </a:lnTo>
                  <a:lnTo>
                    <a:pt x="133" y="4"/>
                  </a:lnTo>
                  <a:lnTo>
                    <a:pt x="113" y="7"/>
                  </a:lnTo>
                  <a:lnTo>
                    <a:pt x="94" y="11"/>
                  </a:lnTo>
                  <a:lnTo>
                    <a:pt x="76" y="14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5" y="19"/>
                  </a:lnTo>
                  <a:lnTo>
                    <a:pt x="52" y="20"/>
                  </a:lnTo>
                  <a:lnTo>
                    <a:pt x="48" y="21"/>
                  </a:lnTo>
                  <a:lnTo>
                    <a:pt x="44" y="22"/>
                  </a:lnTo>
                  <a:lnTo>
                    <a:pt x="43" y="24"/>
                  </a:lnTo>
                  <a:lnTo>
                    <a:pt x="40" y="24"/>
                  </a:lnTo>
                  <a:lnTo>
                    <a:pt x="35" y="26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19" y="33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7" y="43"/>
                  </a:lnTo>
                  <a:lnTo>
                    <a:pt x="5" y="46"/>
                  </a:lnTo>
                  <a:lnTo>
                    <a:pt x="4" y="47"/>
                  </a:lnTo>
                  <a:lnTo>
                    <a:pt x="4" y="48"/>
                  </a:lnTo>
                  <a:lnTo>
                    <a:pt x="2" y="50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8" y="63"/>
                  </a:lnTo>
                  <a:lnTo>
                    <a:pt x="22" y="68"/>
                  </a:lnTo>
                  <a:lnTo>
                    <a:pt x="43" y="74"/>
                  </a:lnTo>
                  <a:lnTo>
                    <a:pt x="67" y="78"/>
                  </a:lnTo>
                  <a:lnTo>
                    <a:pt x="96" y="84"/>
                  </a:lnTo>
                  <a:lnTo>
                    <a:pt x="131" y="87"/>
                  </a:lnTo>
                  <a:lnTo>
                    <a:pt x="168" y="90"/>
                  </a:lnTo>
                  <a:lnTo>
                    <a:pt x="210" y="90"/>
                  </a:lnTo>
                  <a:lnTo>
                    <a:pt x="251" y="90"/>
                  </a:lnTo>
                  <a:lnTo>
                    <a:pt x="289" y="87"/>
                  </a:lnTo>
                  <a:lnTo>
                    <a:pt x="323" y="84"/>
                  </a:lnTo>
                  <a:lnTo>
                    <a:pt x="353" y="78"/>
                  </a:lnTo>
                  <a:lnTo>
                    <a:pt x="377" y="74"/>
                  </a:lnTo>
                  <a:lnTo>
                    <a:pt x="398" y="68"/>
                  </a:lnTo>
                  <a:lnTo>
                    <a:pt x="412" y="62"/>
                  </a:lnTo>
                  <a:lnTo>
                    <a:pt x="42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 501">
              <a:extLst>
                <a:ext uri="{FF2B5EF4-FFF2-40B4-BE49-F238E27FC236}">
                  <a16:creationId xmlns:a16="http://schemas.microsoft.com/office/drawing/2014/main" id="{4073DC26-3EF0-4358-B2FB-8DEAD26C7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03363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7 h 75"/>
                <a:gd name="T10" fmla="*/ 67 w 421"/>
                <a:gd name="T11" fmla="*/ 62 h 75"/>
                <a:gd name="T12" fmla="*/ 97 w 421"/>
                <a:gd name="T13" fmla="*/ 68 h 75"/>
                <a:gd name="T14" fmla="*/ 130 w 421"/>
                <a:gd name="T15" fmla="*/ 71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1 h 75"/>
                <a:gd name="T24" fmla="*/ 325 w 421"/>
                <a:gd name="T25" fmla="*/ 68 h 75"/>
                <a:gd name="T26" fmla="*/ 355 w 421"/>
                <a:gd name="T27" fmla="*/ 62 h 75"/>
                <a:gd name="T28" fmla="*/ 379 w 421"/>
                <a:gd name="T29" fmla="*/ 57 h 75"/>
                <a:gd name="T30" fmla="*/ 399 w 421"/>
                <a:gd name="T31" fmla="*/ 52 h 75"/>
                <a:gd name="T32" fmla="*/ 414 w 421"/>
                <a:gd name="T33" fmla="*/ 46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8 h 75"/>
                <a:gd name="T42" fmla="*/ 386 w 421"/>
                <a:gd name="T43" fmla="*/ 12 h 75"/>
                <a:gd name="T44" fmla="*/ 373 w 421"/>
                <a:gd name="T45" fmla="*/ 14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8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8 h 75"/>
                <a:gd name="T74" fmla="*/ 10 w 421"/>
                <a:gd name="T75" fmla="*/ 4 h 75"/>
                <a:gd name="T76" fmla="*/ 0 w 421"/>
                <a:gd name="T77" fmla="*/ 0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7"/>
                  </a:lnTo>
                  <a:lnTo>
                    <a:pt x="67" y="62"/>
                  </a:lnTo>
                  <a:lnTo>
                    <a:pt x="97" y="68"/>
                  </a:lnTo>
                  <a:lnTo>
                    <a:pt x="130" y="71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1"/>
                  </a:lnTo>
                  <a:lnTo>
                    <a:pt x="325" y="68"/>
                  </a:lnTo>
                  <a:lnTo>
                    <a:pt x="355" y="62"/>
                  </a:lnTo>
                  <a:lnTo>
                    <a:pt x="379" y="57"/>
                  </a:lnTo>
                  <a:lnTo>
                    <a:pt x="399" y="52"/>
                  </a:lnTo>
                  <a:lnTo>
                    <a:pt x="414" y="46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8"/>
                  </a:lnTo>
                  <a:lnTo>
                    <a:pt x="386" y="12"/>
                  </a:lnTo>
                  <a:lnTo>
                    <a:pt x="373" y="14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8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8"/>
                  </a:lnTo>
                  <a:lnTo>
                    <a:pt x="10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502">
              <a:extLst>
                <a:ext uri="{FF2B5EF4-FFF2-40B4-BE49-F238E27FC236}">
                  <a16:creationId xmlns:a16="http://schemas.microsoft.com/office/drawing/2014/main" id="{6B72D012-A2EA-4C61-8384-CFED0411A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74800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8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8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1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8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8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503">
              <a:extLst>
                <a:ext uri="{FF2B5EF4-FFF2-40B4-BE49-F238E27FC236}">
                  <a16:creationId xmlns:a16="http://schemas.microsoft.com/office/drawing/2014/main" id="{647238C1-C646-4A06-88A1-851AE82390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50988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7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7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 504">
              <a:extLst>
                <a:ext uri="{FF2B5EF4-FFF2-40B4-BE49-F238E27FC236}">
                  <a16:creationId xmlns:a16="http://schemas.microsoft.com/office/drawing/2014/main" id="{B3C58DFD-A611-4BC4-B8F8-DCC1FF5DF9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27175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8 h 75"/>
                <a:gd name="T10" fmla="*/ 67 w 421"/>
                <a:gd name="T11" fmla="*/ 63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3 h 75"/>
                <a:gd name="T28" fmla="*/ 379 w 421"/>
                <a:gd name="T29" fmla="*/ 58 h 75"/>
                <a:gd name="T30" fmla="*/ 399 w 421"/>
                <a:gd name="T31" fmla="*/ 52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4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8"/>
                  </a:lnTo>
                  <a:lnTo>
                    <a:pt x="67" y="63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3"/>
                  </a:lnTo>
                  <a:lnTo>
                    <a:pt x="379" y="58"/>
                  </a:lnTo>
                  <a:lnTo>
                    <a:pt x="399" y="52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CF213EB-2F87-46FE-92E2-AD6B352C3A42}"/>
              </a:ext>
            </a:extLst>
          </p:cNvPr>
          <p:cNvGrpSpPr/>
          <p:nvPr/>
        </p:nvGrpSpPr>
        <p:grpSpPr>
          <a:xfrm>
            <a:off x="4623488" y="4450823"/>
            <a:ext cx="239712" cy="285750"/>
            <a:chOff x="5494338" y="1370013"/>
            <a:chExt cx="239712" cy="285750"/>
          </a:xfrm>
          <a:gradFill>
            <a:gsLst>
              <a:gs pos="0">
                <a:srgbClr val="0683B8"/>
              </a:gs>
              <a:gs pos="100000">
                <a:srgbClr val="7030A0"/>
              </a:gs>
            </a:gsLst>
            <a:lin ang="18900000" scaled="1"/>
          </a:gradFill>
        </p:grpSpPr>
        <p:sp>
          <p:nvSpPr>
            <p:cNvPr id="59" name="Freeform 961">
              <a:extLst>
                <a:ext uri="{FF2B5EF4-FFF2-40B4-BE49-F238E27FC236}">
                  <a16:creationId xmlns:a16="http://schemas.microsoft.com/office/drawing/2014/main" id="{25AB7416-6918-4CFC-BD4C-1C0702DE60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29275" y="1370013"/>
              <a:ext cx="104775" cy="133350"/>
            </a:xfrm>
            <a:custGeom>
              <a:avLst/>
              <a:gdLst>
                <a:gd name="T0" fmla="*/ 156 w 265"/>
                <a:gd name="T1" fmla="*/ 108 h 337"/>
                <a:gd name="T2" fmla="*/ 156 w 265"/>
                <a:gd name="T3" fmla="*/ 12 h 337"/>
                <a:gd name="T4" fmla="*/ 252 w 265"/>
                <a:gd name="T5" fmla="*/ 108 h 337"/>
                <a:gd name="T6" fmla="*/ 156 w 265"/>
                <a:gd name="T7" fmla="*/ 108 h 337"/>
                <a:gd name="T8" fmla="*/ 261 w 265"/>
                <a:gd name="T9" fmla="*/ 100 h 337"/>
                <a:gd name="T10" fmla="*/ 165 w 265"/>
                <a:gd name="T11" fmla="*/ 3 h 337"/>
                <a:gd name="T12" fmla="*/ 161 w 265"/>
                <a:gd name="T13" fmla="*/ 1 h 337"/>
                <a:gd name="T14" fmla="*/ 156 w 265"/>
                <a:gd name="T15" fmla="*/ 0 h 337"/>
                <a:gd name="T16" fmla="*/ 12 w 265"/>
                <a:gd name="T17" fmla="*/ 0 h 337"/>
                <a:gd name="T18" fmla="*/ 7 w 265"/>
                <a:gd name="T19" fmla="*/ 1 h 337"/>
                <a:gd name="T20" fmla="*/ 3 w 265"/>
                <a:gd name="T21" fmla="*/ 3 h 337"/>
                <a:gd name="T22" fmla="*/ 1 w 265"/>
                <a:gd name="T23" fmla="*/ 7 h 337"/>
                <a:gd name="T24" fmla="*/ 0 w 265"/>
                <a:gd name="T25" fmla="*/ 12 h 337"/>
                <a:gd name="T26" fmla="*/ 0 w 265"/>
                <a:gd name="T27" fmla="*/ 325 h 337"/>
                <a:gd name="T28" fmla="*/ 1 w 265"/>
                <a:gd name="T29" fmla="*/ 329 h 337"/>
                <a:gd name="T30" fmla="*/ 3 w 265"/>
                <a:gd name="T31" fmla="*/ 334 h 337"/>
                <a:gd name="T32" fmla="*/ 7 w 265"/>
                <a:gd name="T33" fmla="*/ 337 h 337"/>
                <a:gd name="T34" fmla="*/ 12 w 265"/>
                <a:gd name="T35" fmla="*/ 337 h 337"/>
                <a:gd name="T36" fmla="*/ 253 w 265"/>
                <a:gd name="T37" fmla="*/ 337 h 337"/>
                <a:gd name="T38" fmla="*/ 258 w 265"/>
                <a:gd name="T39" fmla="*/ 337 h 337"/>
                <a:gd name="T40" fmla="*/ 261 w 265"/>
                <a:gd name="T41" fmla="*/ 334 h 337"/>
                <a:gd name="T42" fmla="*/ 264 w 265"/>
                <a:gd name="T43" fmla="*/ 329 h 337"/>
                <a:gd name="T44" fmla="*/ 265 w 265"/>
                <a:gd name="T45" fmla="*/ 325 h 337"/>
                <a:gd name="T46" fmla="*/ 265 w 265"/>
                <a:gd name="T47" fmla="*/ 108 h 337"/>
                <a:gd name="T48" fmla="*/ 264 w 265"/>
                <a:gd name="T49" fmla="*/ 104 h 337"/>
                <a:gd name="T50" fmla="*/ 261 w 265"/>
                <a:gd name="T51" fmla="*/ 10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5" h="337">
                  <a:moveTo>
                    <a:pt x="156" y="108"/>
                  </a:moveTo>
                  <a:lnTo>
                    <a:pt x="156" y="12"/>
                  </a:lnTo>
                  <a:lnTo>
                    <a:pt x="252" y="108"/>
                  </a:lnTo>
                  <a:lnTo>
                    <a:pt x="156" y="108"/>
                  </a:lnTo>
                  <a:close/>
                  <a:moveTo>
                    <a:pt x="261" y="100"/>
                  </a:moveTo>
                  <a:lnTo>
                    <a:pt x="165" y="3"/>
                  </a:lnTo>
                  <a:lnTo>
                    <a:pt x="161" y="1"/>
                  </a:lnTo>
                  <a:lnTo>
                    <a:pt x="156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3" y="334"/>
                  </a:lnTo>
                  <a:lnTo>
                    <a:pt x="7" y="337"/>
                  </a:lnTo>
                  <a:lnTo>
                    <a:pt x="12" y="337"/>
                  </a:lnTo>
                  <a:lnTo>
                    <a:pt x="253" y="337"/>
                  </a:lnTo>
                  <a:lnTo>
                    <a:pt x="258" y="337"/>
                  </a:lnTo>
                  <a:lnTo>
                    <a:pt x="261" y="334"/>
                  </a:lnTo>
                  <a:lnTo>
                    <a:pt x="264" y="329"/>
                  </a:lnTo>
                  <a:lnTo>
                    <a:pt x="265" y="325"/>
                  </a:lnTo>
                  <a:lnTo>
                    <a:pt x="265" y="108"/>
                  </a:lnTo>
                  <a:lnTo>
                    <a:pt x="264" y="104"/>
                  </a:lnTo>
                  <a:lnTo>
                    <a:pt x="261" y="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 962">
              <a:extLst>
                <a:ext uri="{FF2B5EF4-FFF2-40B4-BE49-F238E27FC236}">
                  <a16:creationId xmlns:a16="http://schemas.microsoft.com/office/drawing/2014/main" id="{A53A1029-D92C-473D-A0A6-DE77495E27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94338" y="1370013"/>
              <a:ext cx="106363" cy="133350"/>
            </a:xfrm>
            <a:custGeom>
              <a:avLst/>
              <a:gdLst>
                <a:gd name="T0" fmla="*/ 157 w 266"/>
                <a:gd name="T1" fmla="*/ 108 h 337"/>
                <a:gd name="T2" fmla="*/ 157 w 266"/>
                <a:gd name="T3" fmla="*/ 12 h 337"/>
                <a:gd name="T4" fmla="*/ 252 w 266"/>
                <a:gd name="T5" fmla="*/ 108 h 337"/>
                <a:gd name="T6" fmla="*/ 157 w 266"/>
                <a:gd name="T7" fmla="*/ 108 h 337"/>
                <a:gd name="T8" fmla="*/ 166 w 266"/>
                <a:gd name="T9" fmla="*/ 3 h 337"/>
                <a:gd name="T10" fmla="*/ 162 w 266"/>
                <a:gd name="T11" fmla="*/ 1 h 337"/>
                <a:gd name="T12" fmla="*/ 157 w 266"/>
                <a:gd name="T13" fmla="*/ 0 h 337"/>
                <a:gd name="T14" fmla="*/ 13 w 266"/>
                <a:gd name="T15" fmla="*/ 0 h 337"/>
                <a:gd name="T16" fmla="*/ 8 w 266"/>
                <a:gd name="T17" fmla="*/ 1 h 337"/>
                <a:gd name="T18" fmla="*/ 5 w 266"/>
                <a:gd name="T19" fmla="*/ 3 h 337"/>
                <a:gd name="T20" fmla="*/ 1 w 266"/>
                <a:gd name="T21" fmla="*/ 7 h 337"/>
                <a:gd name="T22" fmla="*/ 0 w 266"/>
                <a:gd name="T23" fmla="*/ 12 h 337"/>
                <a:gd name="T24" fmla="*/ 0 w 266"/>
                <a:gd name="T25" fmla="*/ 325 h 337"/>
                <a:gd name="T26" fmla="*/ 1 w 266"/>
                <a:gd name="T27" fmla="*/ 329 h 337"/>
                <a:gd name="T28" fmla="*/ 5 w 266"/>
                <a:gd name="T29" fmla="*/ 334 h 337"/>
                <a:gd name="T30" fmla="*/ 8 w 266"/>
                <a:gd name="T31" fmla="*/ 337 h 337"/>
                <a:gd name="T32" fmla="*/ 13 w 266"/>
                <a:gd name="T33" fmla="*/ 337 h 337"/>
                <a:gd name="T34" fmla="*/ 253 w 266"/>
                <a:gd name="T35" fmla="*/ 337 h 337"/>
                <a:gd name="T36" fmla="*/ 258 w 266"/>
                <a:gd name="T37" fmla="*/ 337 h 337"/>
                <a:gd name="T38" fmla="*/ 263 w 266"/>
                <a:gd name="T39" fmla="*/ 334 h 337"/>
                <a:gd name="T40" fmla="*/ 265 w 266"/>
                <a:gd name="T41" fmla="*/ 329 h 337"/>
                <a:gd name="T42" fmla="*/ 266 w 266"/>
                <a:gd name="T43" fmla="*/ 325 h 337"/>
                <a:gd name="T44" fmla="*/ 266 w 266"/>
                <a:gd name="T45" fmla="*/ 108 h 337"/>
                <a:gd name="T46" fmla="*/ 265 w 266"/>
                <a:gd name="T47" fmla="*/ 104 h 337"/>
                <a:gd name="T48" fmla="*/ 263 w 266"/>
                <a:gd name="T49" fmla="*/ 100 h 337"/>
                <a:gd name="T50" fmla="*/ 166 w 266"/>
                <a:gd name="T51" fmla="*/ 3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6" h="337">
                  <a:moveTo>
                    <a:pt x="157" y="108"/>
                  </a:moveTo>
                  <a:lnTo>
                    <a:pt x="157" y="12"/>
                  </a:lnTo>
                  <a:lnTo>
                    <a:pt x="252" y="108"/>
                  </a:lnTo>
                  <a:lnTo>
                    <a:pt x="157" y="108"/>
                  </a:lnTo>
                  <a:close/>
                  <a:moveTo>
                    <a:pt x="166" y="3"/>
                  </a:moveTo>
                  <a:lnTo>
                    <a:pt x="162" y="1"/>
                  </a:lnTo>
                  <a:lnTo>
                    <a:pt x="157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5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5" y="334"/>
                  </a:lnTo>
                  <a:lnTo>
                    <a:pt x="8" y="337"/>
                  </a:lnTo>
                  <a:lnTo>
                    <a:pt x="13" y="337"/>
                  </a:lnTo>
                  <a:lnTo>
                    <a:pt x="253" y="337"/>
                  </a:lnTo>
                  <a:lnTo>
                    <a:pt x="258" y="337"/>
                  </a:lnTo>
                  <a:lnTo>
                    <a:pt x="263" y="334"/>
                  </a:lnTo>
                  <a:lnTo>
                    <a:pt x="265" y="329"/>
                  </a:lnTo>
                  <a:lnTo>
                    <a:pt x="266" y="325"/>
                  </a:lnTo>
                  <a:lnTo>
                    <a:pt x="266" y="108"/>
                  </a:lnTo>
                  <a:lnTo>
                    <a:pt x="265" y="104"/>
                  </a:lnTo>
                  <a:lnTo>
                    <a:pt x="263" y="100"/>
                  </a:lnTo>
                  <a:lnTo>
                    <a:pt x="166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 963">
              <a:extLst>
                <a:ext uri="{FF2B5EF4-FFF2-40B4-BE49-F238E27FC236}">
                  <a16:creationId xmlns:a16="http://schemas.microsoft.com/office/drawing/2014/main" id="{8E5510B4-EAA5-4B2D-9E4D-87C0E69B2A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29275" y="1522413"/>
              <a:ext cx="104775" cy="133350"/>
            </a:xfrm>
            <a:custGeom>
              <a:avLst/>
              <a:gdLst>
                <a:gd name="T0" fmla="*/ 156 w 265"/>
                <a:gd name="T1" fmla="*/ 108 h 336"/>
                <a:gd name="T2" fmla="*/ 156 w 265"/>
                <a:gd name="T3" fmla="*/ 11 h 336"/>
                <a:gd name="T4" fmla="*/ 252 w 265"/>
                <a:gd name="T5" fmla="*/ 108 h 336"/>
                <a:gd name="T6" fmla="*/ 156 w 265"/>
                <a:gd name="T7" fmla="*/ 108 h 336"/>
                <a:gd name="T8" fmla="*/ 165 w 265"/>
                <a:gd name="T9" fmla="*/ 3 h 336"/>
                <a:gd name="T10" fmla="*/ 161 w 265"/>
                <a:gd name="T11" fmla="*/ 1 h 336"/>
                <a:gd name="T12" fmla="*/ 156 w 265"/>
                <a:gd name="T13" fmla="*/ 0 h 336"/>
                <a:gd name="T14" fmla="*/ 12 w 265"/>
                <a:gd name="T15" fmla="*/ 0 h 336"/>
                <a:gd name="T16" fmla="*/ 7 w 265"/>
                <a:gd name="T17" fmla="*/ 1 h 336"/>
                <a:gd name="T18" fmla="*/ 3 w 265"/>
                <a:gd name="T19" fmla="*/ 3 h 336"/>
                <a:gd name="T20" fmla="*/ 1 w 265"/>
                <a:gd name="T21" fmla="*/ 7 h 336"/>
                <a:gd name="T22" fmla="*/ 0 w 265"/>
                <a:gd name="T23" fmla="*/ 11 h 336"/>
                <a:gd name="T24" fmla="*/ 0 w 265"/>
                <a:gd name="T25" fmla="*/ 325 h 336"/>
                <a:gd name="T26" fmla="*/ 1 w 265"/>
                <a:gd name="T27" fmla="*/ 329 h 336"/>
                <a:gd name="T28" fmla="*/ 3 w 265"/>
                <a:gd name="T29" fmla="*/ 333 h 336"/>
                <a:gd name="T30" fmla="*/ 7 w 265"/>
                <a:gd name="T31" fmla="*/ 335 h 336"/>
                <a:gd name="T32" fmla="*/ 12 w 265"/>
                <a:gd name="T33" fmla="*/ 336 h 336"/>
                <a:gd name="T34" fmla="*/ 253 w 265"/>
                <a:gd name="T35" fmla="*/ 336 h 336"/>
                <a:gd name="T36" fmla="*/ 258 w 265"/>
                <a:gd name="T37" fmla="*/ 335 h 336"/>
                <a:gd name="T38" fmla="*/ 261 w 265"/>
                <a:gd name="T39" fmla="*/ 333 h 336"/>
                <a:gd name="T40" fmla="*/ 264 w 265"/>
                <a:gd name="T41" fmla="*/ 329 h 336"/>
                <a:gd name="T42" fmla="*/ 265 w 265"/>
                <a:gd name="T43" fmla="*/ 325 h 336"/>
                <a:gd name="T44" fmla="*/ 265 w 265"/>
                <a:gd name="T45" fmla="*/ 108 h 336"/>
                <a:gd name="T46" fmla="*/ 264 w 265"/>
                <a:gd name="T47" fmla="*/ 104 h 336"/>
                <a:gd name="T48" fmla="*/ 261 w 265"/>
                <a:gd name="T49" fmla="*/ 100 h 336"/>
                <a:gd name="T50" fmla="*/ 165 w 265"/>
                <a:gd name="T51" fmla="*/ 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5" h="336">
                  <a:moveTo>
                    <a:pt x="156" y="108"/>
                  </a:moveTo>
                  <a:lnTo>
                    <a:pt x="156" y="11"/>
                  </a:lnTo>
                  <a:lnTo>
                    <a:pt x="252" y="108"/>
                  </a:lnTo>
                  <a:lnTo>
                    <a:pt x="156" y="108"/>
                  </a:lnTo>
                  <a:close/>
                  <a:moveTo>
                    <a:pt x="165" y="3"/>
                  </a:moveTo>
                  <a:lnTo>
                    <a:pt x="161" y="1"/>
                  </a:lnTo>
                  <a:lnTo>
                    <a:pt x="156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3" y="333"/>
                  </a:lnTo>
                  <a:lnTo>
                    <a:pt x="7" y="335"/>
                  </a:lnTo>
                  <a:lnTo>
                    <a:pt x="12" y="336"/>
                  </a:lnTo>
                  <a:lnTo>
                    <a:pt x="253" y="336"/>
                  </a:lnTo>
                  <a:lnTo>
                    <a:pt x="258" y="335"/>
                  </a:lnTo>
                  <a:lnTo>
                    <a:pt x="261" y="333"/>
                  </a:lnTo>
                  <a:lnTo>
                    <a:pt x="264" y="329"/>
                  </a:lnTo>
                  <a:lnTo>
                    <a:pt x="265" y="325"/>
                  </a:lnTo>
                  <a:lnTo>
                    <a:pt x="265" y="108"/>
                  </a:lnTo>
                  <a:lnTo>
                    <a:pt x="264" y="104"/>
                  </a:lnTo>
                  <a:lnTo>
                    <a:pt x="261" y="100"/>
                  </a:lnTo>
                  <a:lnTo>
                    <a:pt x="165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 964">
              <a:extLst>
                <a:ext uri="{FF2B5EF4-FFF2-40B4-BE49-F238E27FC236}">
                  <a16:creationId xmlns:a16="http://schemas.microsoft.com/office/drawing/2014/main" id="{51A990BD-3456-4FEA-B40E-A6BDCB2EC7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94338" y="1522413"/>
              <a:ext cx="106363" cy="133350"/>
            </a:xfrm>
            <a:custGeom>
              <a:avLst/>
              <a:gdLst>
                <a:gd name="T0" fmla="*/ 157 w 266"/>
                <a:gd name="T1" fmla="*/ 108 h 336"/>
                <a:gd name="T2" fmla="*/ 157 w 266"/>
                <a:gd name="T3" fmla="*/ 11 h 336"/>
                <a:gd name="T4" fmla="*/ 252 w 266"/>
                <a:gd name="T5" fmla="*/ 108 h 336"/>
                <a:gd name="T6" fmla="*/ 157 w 266"/>
                <a:gd name="T7" fmla="*/ 108 h 336"/>
                <a:gd name="T8" fmla="*/ 166 w 266"/>
                <a:gd name="T9" fmla="*/ 3 h 336"/>
                <a:gd name="T10" fmla="*/ 162 w 266"/>
                <a:gd name="T11" fmla="*/ 1 h 336"/>
                <a:gd name="T12" fmla="*/ 157 w 266"/>
                <a:gd name="T13" fmla="*/ 0 h 336"/>
                <a:gd name="T14" fmla="*/ 13 w 266"/>
                <a:gd name="T15" fmla="*/ 0 h 336"/>
                <a:gd name="T16" fmla="*/ 8 w 266"/>
                <a:gd name="T17" fmla="*/ 1 h 336"/>
                <a:gd name="T18" fmla="*/ 5 w 266"/>
                <a:gd name="T19" fmla="*/ 3 h 336"/>
                <a:gd name="T20" fmla="*/ 1 w 266"/>
                <a:gd name="T21" fmla="*/ 7 h 336"/>
                <a:gd name="T22" fmla="*/ 0 w 266"/>
                <a:gd name="T23" fmla="*/ 11 h 336"/>
                <a:gd name="T24" fmla="*/ 0 w 266"/>
                <a:gd name="T25" fmla="*/ 325 h 336"/>
                <a:gd name="T26" fmla="*/ 1 w 266"/>
                <a:gd name="T27" fmla="*/ 329 h 336"/>
                <a:gd name="T28" fmla="*/ 5 w 266"/>
                <a:gd name="T29" fmla="*/ 333 h 336"/>
                <a:gd name="T30" fmla="*/ 8 w 266"/>
                <a:gd name="T31" fmla="*/ 335 h 336"/>
                <a:gd name="T32" fmla="*/ 13 w 266"/>
                <a:gd name="T33" fmla="*/ 336 h 336"/>
                <a:gd name="T34" fmla="*/ 253 w 266"/>
                <a:gd name="T35" fmla="*/ 336 h 336"/>
                <a:gd name="T36" fmla="*/ 258 w 266"/>
                <a:gd name="T37" fmla="*/ 335 h 336"/>
                <a:gd name="T38" fmla="*/ 263 w 266"/>
                <a:gd name="T39" fmla="*/ 333 h 336"/>
                <a:gd name="T40" fmla="*/ 265 w 266"/>
                <a:gd name="T41" fmla="*/ 329 h 336"/>
                <a:gd name="T42" fmla="*/ 266 w 266"/>
                <a:gd name="T43" fmla="*/ 325 h 336"/>
                <a:gd name="T44" fmla="*/ 266 w 266"/>
                <a:gd name="T45" fmla="*/ 108 h 336"/>
                <a:gd name="T46" fmla="*/ 265 w 266"/>
                <a:gd name="T47" fmla="*/ 104 h 336"/>
                <a:gd name="T48" fmla="*/ 263 w 266"/>
                <a:gd name="T49" fmla="*/ 100 h 336"/>
                <a:gd name="T50" fmla="*/ 166 w 266"/>
                <a:gd name="T51" fmla="*/ 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6" h="336">
                  <a:moveTo>
                    <a:pt x="157" y="108"/>
                  </a:moveTo>
                  <a:lnTo>
                    <a:pt x="157" y="11"/>
                  </a:lnTo>
                  <a:lnTo>
                    <a:pt x="252" y="108"/>
                  </a:lnTo>
                  <a:lnTo>
                    <a:pt x="157" y="108"/>
                  </a:lnTo>
                  <a:close/>
                  <a:moveTo>
                    <a:pt x="166" y="3"/>
                  </a:moveTo>
                  <a:lnTo>
                    <a:pt x="162" y="1"/>
                  </a:lnTo>
                  <a:lnTo>
                    <a:pt x="157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5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5" y="333"/>
                  </a:lnTo>
                  <a:lnTo>
                    <a:pt x="8" y="335"/>
                  </a:lnTo>
                  <a:lnTo>
                    <a:pt x="13" y="336"/>
                  </a:lnTo>
                  <a:lnTo>
                    <a:pt x="253" y="336"/>
                  </a:lnTo>
                  <a:lnTo>
                    <a:pt x="258" y="335"/>
                  </a:lnTo>
                  <a:lnTo>
                    <a:pt x="263" y="333"/>
                  </a:lnTo>
                  <a:lnTo>
                    <a:pt x="265" y="329"/>
                  </a:lnTo>
                  <a:lnTo>
                    <a:pt x="266" y="325"/>
                  </a:lnTo>
                  <a:lnTo>
                    <a:pt x="266" y="108"/>
                  </a:lnTo>
                  <a:lnTo>
                    <a:pt x="265" y="104"/>
                  </a:lnTo>
                  <a:lnTo>
                    <a:pt x="263" y="100"/>
                  </a:lnTo>
                  <a:lnTo>
                    <a:pt x="166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8640" y="0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E7A5DD22-4E32-4F8F-A847-7FE291BD1358}"/>
              </a:ext>
            </a:extLst>
          </p:cNvPr>
          <p:cNvSpPr/>
          <p:nvPr/>
        </p:nvSpPr>
        <p:spPr>
          <a:xfrm rot="5400000">
            <a:off x="8731656" y="4279893"/>
            <a:ext cx="4613792" cy="2306896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8" name="Picture 107">
            <a:extLst>
              <a:ext uri="{FF2B5EF4-FFF2-40B4-BE49-F238E27FC236}">
                <a16:creationId xmlns:a16="http://schemas.microsoft.com/office/drawing/2014/main" id="{A6BA5E63-69F5-4BE2-91ED-886D8CEC38A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360491" y="5372100"/>
            <a:ext cx="3351177" cy="14859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4267CBA-11A5-237A-FDF2-099BF25C1708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12523" r="62078" b="16697"/>
          <a:stretch/>
        </p:blipFill>
        <p:spPr>
          <a:xfrm>
            <a:off x="6477560" y="2697174"/>
            <a:ext cx="2223083" cy="410123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1F93B76-995B-8EBB-5003-E37CF53D49FE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12730" r="62078" b="16923"/>
          <a:stretch/>
        </p:blipFill>
        <p:spPr>
          <a:xfrm>
            <a:off x="9170358" y="2674736"/>
            <a:ext cx="2223083" cy="4123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2994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700" b="22989"/>
          <a:stretch/>
        </p:blipFill>
        <p:spPr>
          <a:xfrm>
            <a:off x="-1" y="4476289"/>
            <a:ext cx="12188891" cy="2381711"/>
          </a:xfrm>
          <a:prstGeom prst="rect">
            <a:avLst/>
          </a:prstGeom>
        </p:spPr>
      </p:pic>
      <p:sp>
        <p:nvSpPr>
          <p:cNvPr id="35" name="Rectangle 34"/>
          <p:cNvSpPr/>
          <p:nvPr/>
        </p:nvSpPr>
        <p:spPr>
          <a:xfrm>
            <a:off x="0" y="4473574"/>
            <a:ext cx="12192000" cy="2384426"/>
          </a:xfrm>
          <a:prstGeom prst="rect">
            <a:avLst/>
          </a:prstGeom>
          <a:gradFill flip="none" rotWithShape="1">
            <a:gsLst>
              <a:gs pos="36000">
                <a:srgbClr val="09192F">
                  <a:alpha val="72000"/>
                </a:srgbClr>
              </a:gs>
              <a:gs pos="100000">
                <a:srgbClr val="125680">
                  <a:alpha val="64000"/>
                </a:srgbClr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-62821"/>
            <a:ext cx="12188891" cy="4473574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6" name="TextBox 35"/>
          <p:cNvSpPr txBox="1"/>
          <p:nvPr/>
        </p:nvSpPr>
        <p:spPr>
          <a:xfrm>
            <a:off x="826809" y="589490"/>
            <a:ext cx="1741182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4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Feature</a:t>
            </a:r>
            <a:endParaRPr lang="en-US" sz="40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1038361" y="5269154"/>
            <a:ext cx="793266" cy="793266"/>
            <a:chOff x="1038361" y="5034396"/>
            <a:chExt cx="1021462" cy="1021462"/>
          </a:xfrm>
        </p:grpSpPr>
        <p:sp>
          <p:nvSpPr>
            <p:cNvPr id="37" name="Rectangle 36"/>
            <p:cNvSpPr/>
            <p:nvPr/>
          </p:nvSpPr>
          <p:spPr>
            <a:xfrm rot="2700000">
              <a:off x="1038361" y="5034396"/>
              <a:ext cx="1021462" cy="1021462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8" name="Rectangle 37"/>
            <p:cNvSpPr/>
            <p:nvPr/>
          </p:nvSpPr>
          <p:spPr>
            <a:xfrm rot="2700000">
              <a:off x="1157704" y="5153739"/>
              <a:ext cx="782776" cy="782776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35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9" name="Freeform 2972"/>
            <p:cNvSpPr>
              <a:spLocks noEditPoints="1"/>
            </p:cNvSpPr>
            <p:nvPr/>
          </p:nvSpPr>
          <p:spPr bwMode="auto">
            <a:xfrm>
              <a:off x="1336895" y="5345971"/>
              <a:ext cx="424394" cy="398312"/>
            </a:xfrm>
            <a:custGeom>
              <a:avLst/>
              <a:gdLst>
                <a:gd name="T0" fmla="*/ 373 w 719"/>
                <a:gd name="T1" fmla="*/ 471 h 671"/>
                <a:gd name="T2" fmla="*/ 314 w 719"/>
                <a:gd name="T3" fmla="*/ 424 h 671"/>
                <a:gd name="T4" fmla="*/ 241 w 719"/>
                <a:gd name="T5" fmla="*/ 344 h 671"/>
                <a:gd name="T6" fmla="*/ 206 w 719"/>
                <a:gd name="T7" fmla="*/ 281 h 671"/>
                <a:gd name="T8" fmla="*/ 204 w 719"/>
                <a:gd name="T9" fmla="*/ 244 h 671"/>
                <a:gd name="T10" fmla="*/ 215 w 719"/>
                <a:gd name="T11" fmla="*/ 206 h 671"/>
                <a:gd name="T12" fmla="*/ 237 w 719"/>
                <a:gd name="T13" fmla="*/ 177 h 671"/>
                <a:gd name="T14" fmla="*/ 267 w 719"/>
                <a:gd name="T15" fmla="*/ 161 h 671"/>
                <a:gd name="T16" fmla="*/ 303 w 719"/>
                <a:gd name="T17" fmla="*/ 158 h 671"/>
                <a:gd name="T18" fmla="*/ 348 w 719"/>
                <a:gd name="T19" fmla="*/ 182 h 671"/>
                <a:gd name="T20" fmla="*/ 372 w 719"/>
                <a:gd name="T21" fmla="*/ 215 h 671"/>
                <a:gd name="T22" fmla="*/ 387 w 719"/>
                <a:gd name="T23" fmla="*/ 200 h 671"/>
                <a:gd name="T24" fmla="*/ 424 w 719"/>
                <a:gd name="T25" fmla="*/ 166 h 671"/>
                <a:gd name="T26" fmla="*/ 467 w 719"/>
                <a:gd name="T27" fmla="*/ 158 h 671"/>
                <a:gd name="T28" fmla="*/ 499 w 719"/>
                <a:gd name="T29" fmla="*/ 168 h 671"/>
                <a:gd name="T30" fmla="*/ 525 w 719"/>
                <a:gd name="T31" fmla="*/ 191 h 671"/>
                <a:gd name="T32" fmla="*/ 543 w 719"/>
                <a:gd name="T33" fmla="*/ 224 h 671"/>
                <a:gd name="T34" fmla="*/ 546 w 719"/>
                <a:gd name="T35" fmla="*/ 264 h 671"/>
                <a:gd name="T36" fmla="*/ 532 w 719"/>
                <a:gd name="T37" fmla="*/ 308 h 671"/>
                <a:gd name="T38" fmla="*/ 481 w 719"/>
                <a:gd name="T39" fmla="*/ 378 h 671"/>
                <a:gd name="T40" fmla="*/ 388 w 719"/>
                <a:gd name="T41" fmla="*/ 463 h 671"/>
                <a:gd name="T42" fmla="*/ 342 w 719"/>
                <a:gd name="T43" fmla="*/ 0 h 671"/>
                <a:gd name="T44" fmla="*/ 270 w 719"/>
                <a:gd name="T45" fmla="*/ 10 h 671"/>
                <a:gd name="T46" fmla="*/ 204 w 719"/>
                <a:gd name="T47" fmla="*/ 30 h 671"/>
                <a:gd name="T48" fmla="*/ 144 w 719"/>
                <a:gd name="T49" fmla="*/ 60 h 671"/>
                <a:gd name="T50" fmla="*/ 94 w 719"/>
                <a:gd name="T51" fmla="*/ 98 h 671"/>
                <a:gd name="T52" fmla="*/ 53 w 719"/>
                <a:gd name="T53" fmla="*/ 143 h 671"/>
                <a:gd name="T54" fmla="*/ 22 w 719"/>
                <a:gd name="T55" fmla="*/ 194 h 671"/>
                <a:gd name="T56" fmla="*/ 5 w 719"/>
                <a:gd name="T57" fmla="*/ 251 h 671"/>
                <a:gd name="T58" fmla="*/ 0 w 719"/>
                <a:gd name="T59" fmla="*/ 311 h 671"/>
                <a:gd name="T60" fmla="*/ 11 w 719"/>
                <a:gd name="T61" fmla="*/ 367 h 671"/>
                <a:gd name="T62" fmla="*/ 34 w 719"/>
                <a:gd name="T63" fmla="*/ 420 h 671"/>
                <a:gd name="T64" fmla="*/ 68 w 719"/>
                <a:gd name="T65" fmla="*/ 469 h 671"/>
                <a:gd name="T66" fmla="*/ 25 w 719"/>
                <a:gd name="T67" fmla="*/ 653 h 671"/>
                <a:gd name="T68" fmla="*/ 28 w 719"/>
                <a:gd name="T69" fmla="*/ 667 h 671"/>
                <a:gd name="T70" fmla="*/ 42 w 719"/>
                <a:gd name="T71" fmla="*/ 670 h 671"/>
                <a:gd name="T72" fmla="*/ 329 w 719"/>
                <a:gd name="T73" fmla="*/ 590 h 671"/>
                <a:gd name="T74" fmla="*/ 414 w 719"/>
                <a:gd name="T75" fmla="*/ 588 h 671"/>
                <a:gd name="T76" fmla="*/ 483 w 719"/>
                <a:gd name="T77" fmla="*/ 574 h 671"/>
                <a:gd name="T78" fmla="*/ 546 w 719"/>
                <a:gd name="T79" fmla="*/ 549 h 671"/>
                <a:gd name="T80" fmla="*/ 601 w 719"/>
                <a:gd name="T81" fmla="*/ 514 h 671"/>
                <a:gd name="T82" fmla="*/ 648 w 719"/>
                <a:gd name="T83" fmla="*/ 472 h 671"/>
                <a:gd name="T84" fmla="*/ 683 w 719"/>
                <a:gd name="T85" fmla="*/ 424 h 671"/>
                <a:gd name="T86" fmla="*/ 708 w 719"/>
                <a:gd name="T87" fmla="*/ 369 h 671"/>
                <a:gd name="T88" fmla="*/ 719 w 719"/>
                <a:gd name="T89" fmla="*/ 311 h 671"/>
                <a:gd name="T90" fmla="*/ 715 w 719"/>
                <a:gd name="T91" fmla="*/ 251 h 671"/>
                <a:gd name="T92" fmla="*/ 698 w 719"/>
                <a:gd name="T93" fmla="*/ 194 h 671"/>
                <a:gd name="T94" fmla="*/ 667 w 719"/>
                <a:gd name="T95" fmla="*/ 143 h 671"/>
                <a:gd name="T96" fmla="*/ 626 w 719"/>
                <a:gd name="T97" fmla="*/ 98 h 671"/>
                <a:gd name="T98" fmla="*/ 575 w 719"/>
                <a:gd name="T99" fmla="*/ 60 h 671"/>
                <a:gd name="T100" fmla="*/ 516 w 719"/>
                <a:gd name="T101" fmla="*/ 30 h 671"/>
                <a:gd name="T102" fmla="*/ 450 w 719"/>
                <a:gd name="T103" fmla="*/ 10 h 671"/>
                <a:gd name="T104" fmla="*/ 379 w 719"/>
                <a:gd name="T105" fmla="*/ 1 h 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19" h="671">
                  <a:moveTo>
                    <a:pt x="379" y="470"/>
                  </a:moveTo>
                  <a:lnTo>
                    <a:pt x="376" y="471"/>
                  </a:lnTo>
                  <a:lnTo>
                    <a:pt x="375" y="471"/>
                  </a:lnTo>
                  <a:lnTo>
                    <a:pt x="373" y="471"/>
                  </a:lnTo>
                  <a:lnTo>
                    <a:pt x="372" y="470"/>
                  </a:lnTo>
                  <a:lnTo>
                    <a:pt x="362" y="463"/>
                  </a:lnTo>
                  <a:lnTo>
                    <a:pt x="342" y="447"/>
                  </a:lnTo>
                  <a:lnTo>
                    <a:pt x="314" y="424"/>
                  </a:lnTo>
                  <a:lnTo>
                    <a:pt x="285" y="395"/>
                  </a:lnTo>
                  <a:lnTo>
                    <a:pt x="269" y="378"/>
                  </a:lnTo>
                  <a:lnTo>
                    <a:pt x="254" y="362"/>
                  </a:lnTo>
                  <a:lnTo>
                    <a:pt x="241" y="344"/>
                  </a:lnTo>
                  <a:lnTo>
                    <a:pt x="228" y="326"/>
                  </a:lnTo>
                  <a:lnTo>
                    <a:pt x="218" y="308"/>
                  </a:lnTo>
                  <a:lnTo>
                    <a:pt x="210" y="290"/>
                  </a:lnTo>
                  <a:lnTo>
                    <a:pt x="206" y="281"/>
                  </a:lnTo>
                  <a:lnTo>
                    <a:pt x="205" y="273"/>
                  </a:lnTo>
                  <a:lnTo>
                    <a:pt x="204" y="264"/>
                  </a:lnTo>
                  <a:lnTo>
                    <a:pt x="203" y="255"/>
                  </a:lnTo>
                  <a:lnTo>
                    <a:pt x="204" y="244"/>
                  </a:lnTo>
                  <a:lnTo>
                    <a:pt x="205" y="233"/>
                  </a:lnTo>
                  <a:lnTo>
                    <a:pt x="207" y="224"/>
                  </a:lnTo>
                  <a:lnTo>
                    <a:pt x="211" y="214"/>
                  </a:lnTo>
                  <a:lnTo>
                    <a:pt x="215" y="206"/>
                  </a:lnTo>
                  <a:lnTo>
                    <a:pt x="219" y="198"/>
                  </a:lnTo>
                  <a:lnTo>
                    <a:pt x="225" y="191"/>
                  </a:lnTo>
                  <a:lnTo>
                    <a:pt x="231" y="183"/>
                  </a:lnTo>
                  <a:lnTo>
                    <a:pt x="237" y="177"/>
                  </a:lnTo>
                  <a:lnTo>
                    <a:pt x="244" y="173"/>
                  </a:lnTo>
                  <a:lnTo>
                    <a:pt x="251" y="168"/>
                  </a:lnTo>
                  <a:lnTo>
                    <a:pt x="259" y="164"/>
                  </a:lnTo>
                  <a:lnTo>
                    <a:pt x="267" y="161"/>
                  </a:lnTo>
                  <a:lnTo>
                    <a:pt x="275" y="160"/>
                  </a:lnTo>
                  <a:lnTo>
                    <a:pt x="282" y="158"/>
                  </a:lnTo>
                  <a:lnTo>
                    <a:pt x="291" y="157"/>
                  </a:lnTo>
                  <a:lnTo>
                    <a:pt x="303" y="158"/>
                  </a:lnTo>
                  <a:lnTo>
                    <a:pt x="314" y="161"/>
                  </a:lnTo>
                  <a:lnTo>
                    <a:pt x="326" y="166"/>
                  </a:lnTo>
                  <a:lnTo>
                    <a:pt x="337" y="173"/>
                  </a:lnTo>
                  <a:lnTo>
                    <a:pt x="348" y="182"/>
                  </a:lnTo>
                  <a:lnTo>
                    <a:pt x="359" y="193"/>
                  </a:lnTo>
                  <a:lnTo>
                    <a:pt x="363" y="200"/>
                  </a:lnTo>
                  <a:lnTo>
                    <a:pt x="367" y="207"/>
                  </a:lnTo>
                  <a:lnTo>
                    <a:pt x="372" y="215"/>
                  </a:lnTo>
                  <a:lnTo>
                    <a:pt x="375" y="224"/>
                  </a:lnTo>
                  <a:lnTo>
                    <a:pt x="379" y="215"/>
                  </a:lnTo>
                  <a:lnTo>
                    <a:pt x="382" y="207"/>
                  </a:lnTo>
                  <a:lnTo>
                    <a:pt x="387" y="200"/>
                  </a:lnTo>
                  <a:lnTo>
                    <a:pt x="392" y="193"/>
                  </a:lnTo>
                  <a:lnTo>
                    <a:pt x="401" y="182"/>
                  </a:lnTo>
                  <a:lnTo>
                    <a:pt x="412" y="173"/>
                  </a:lnTo>
                  <a:lnTo>
                    <a:pt x="424" y="166"/>
                  </a:lnTo>
                  <a:lnTo>
                    <a:pt x="436" y="161"/>
                  </a:lnTo>
                  <a:lnTo>
                    <a:pt x="448" y="158"/>
                  </a:lnTo>
                  <a:lnTo>
                    <a:pt x="458" y="157"/>
                  </a:lnTo>
                  <a:lnTo>
                    <a:pt x="467" y="158"/>
                  </a:lnTo>
                  <a:lnTo>
                    <a:pt x="475" y="160"/>
                  </a:lnTo>
                  <a:lnTo>
                    <a:pt x="483" y="161"/>
                  </a:lnTo>
                  <a:lnTo>
                    <a:pt x="491" y="164"/>
                  </a:lnTo>
                  <a:lnTo>
                    <a:pt x="499" y="168"/>
                  </a:lnTo>
                  <a:lnTo>
                    <a:pt x="506" y="173"/>
                  </a:lnTo>
                  <a:lnTo>
                    <a:pt x="513" y="177"/>
                  </a:lnTo>
                  <a:lnTo>
                    <a:pt x="519" y="183"/>
                  </a:lnTo>
                  <a:lnTo>
                    <a:pt x="525" y="191"/>
                  </a:lnTo>
                  <a:lnTo>
                    <a:pt x="531" y="198"/>
                  </a:lnTo>
                  <a:lnTo>
                    <a:pt x="536" y="206"/>
                  </a:lnTo>
                  <a:lnTo>
                    <a:pt x="539" y="214"/>
                  </a:lnTo>
                  <a:lnTo>
                    <a:pt x="543" y="224"/>
                  </a:lnTo>
                  <a:lnTo>
                    <a:pt x="545" y="233"/>
                  </a:lnTo>
                  <a:lnTo>
                    <a:pt x="546" y="244"/>
                  </a:lnTo>
                  <a:lnTo>
                    <a:pt x="546" y="255"/>
                  </a:lnTo>
                  <a:lnTo>
                    <a:pt x="546" y="264"/>
                  </a:lnTo>
                  <a:lnTo>
                    <a:pt x="545" y="273"/>
                  </a:lnTo>
                  <a:lnTo>
                    <a:pt x="543" y="281"/>
                  </a:lnTo>
                  <a:lnTo>
                    <a:pt x="541" y="290"/>
                  </a:lnTo>
                  <a:lnTo>
                    <a:pt x="532" y="308"/>
                  </a:lnTo>
                  <a:lnTo>
                    <a:pt x="521" y="326"/>
                  </a:lnTo>
                  <a:lnTo>
                    <a:pt x="510" y="344"/>
                  </a:lnTo>
                  <a:lnTo>
                    <a:pt x="495" y="362"/>
                  </a:lnTo>
                  <a:lnTo>
                    <a:pt x="481" y="378"/>
                  </a:lnTo>
                  <a:lnTo>
                    <a:pt x="466" y="395"/>
                  </a:lnTo>
                  <a:lnTo>
                    <a:pt x="435" y="424"/>
                  </a:lnTo>
                  <a:lnTo>
                    <a:pt x="407" y="447"/>
                  </a:lnTo>
                  <a:lnTo>
                    <a:pt x="388" y="463"/>
                  </a:lnTo>
                  <a:lnTo>
                    <a:pt x="379" y="470"/>
                  </a:lnTo>
                  <a:lnTo>
                    <a:pt x="379" y="470"/>
                  </a:lnTo>
                  <a:close/>
                  <a:moveTo>
                    <a:pt x="360" y="0"/>
                  </a:moveTo>
                  <a:lnTo>
                    <a:pt x="342" y="0"/>
                  </a:lnTo>
                  <a:lnTo>
                    <a:pt x="323" y="1"/>
                  </a:lnTo>
                  <a:lnTo>
                    <a:pt x="305" y="4"/>
                  </a:lnTo>
                  <a:lnTo>
                    <a:pt x="287" y="6"/>
                  </a:lnTo>
                  <a:lnTo>
                    <a:pt x="270" y="10"/>
                  </a:lnTo>
                  <a:lnTo>
                    <a:pt x="253" y="13"/>
                  </a:lnTo>
                  <a:lnTo>
                    <a:pt x="236" y="18"/>
                  </a:lnTo>
                  <a:lnTo>
                    <a:pt x="221" y="24"/>
                  </a:lnTo>
                  <a:lnTo>
                    <a:pt x="204" y="30"/>
                  </a:lnTo>
                  <a:lnTo>
                    <a:pt x="188" y="36"/>
                  </a:lnTo>
                  <a:lnTo>
                    <a:pt x="174" y="43"/>
                  </a:lnTo>
                  <a:lnTo>
                    <a:pt x="159" y="51"/>
                  </a:lnTo>
                  <a:lnTo>
                    <a:pt x="144" y="60"/>
                  </a:lnTo>
                  <a:lnTo>
                    <a:pt x="131" y="68"/>
                  </a:lnTo>
                  <a:lnTo>
                    <a:pt x="118" y="78"/>
                  </a:lnTo>
                  <a:lnTo>
                    <a:pt x="106" y="87"/>
                  </a:lnTo>
                  <a:lnTo>
                    <a:pt x="94" y="98"/>
                  </a:lnTo>
                  <a:lnTo>
                    <a:pt x="83" y="108"/>
                  </a:lnTo>
                  <a:lnTo>
                    <a:pt x="72" y="119"/>
                  </a:lnTo>
                  <a:lnTo>
                    <a:pt x="62" y="131"/>
                  </a:lnTo>
                  <a:lnTo>
                    <a:pt x="53" y="143"/>
                  </a:lnTo>
                  <a:lnTo>
                    <a:pt x="44" y="155"/>
                  </a:lnTo>
                  <a:lnTo>
                    <a:pt x="36" y="168"/>
                  </a:lnTo>
                  <a:lnTo>
                    <a:pt x="29" y="181"/>
                  </a:lnTo>
                  <a:lnTo>
                    <a:pt x="22" y="194"/>
                  </a:lnTo>
                  <a:lnTo>
                    <a:pt x="17" y="208"/>
                  </a:lnTo>
                  <a:lnTo>
                    <a:pt x="12" y="223"/>
                  </a:lnTo>
                  <a:lnTo>
                    <a:pt x="8" y="237"/>
                  </a:lnTo>
                  <a:lnTo>
                    <a:pt x="5" y="251"/>
                  </a:lnTo>
                  <a:lnTo>
                    <a:pt x="3" y="265"/>
                  </a:lnTo>
                  <a:lnTo>
                    <a:pt x="0" y="281"/>
                  </a:lnTo>
                  <a:lnTo>
                    <a:pt x="0" y="296"/>
                  </a:lnTo>
                  <a:lnTo>
                    <a:pt x="0" y="311"/>
                  </a:lnTo>
                  <a:lnTo>
                    <a:pt x="2" y="325"/>
                  </a:lnTo>
                  <a:lnTo>
                    <a:pt x="4" y="339"/>
                  </a:lnTo>
                  <a:lnTo>
                    <a:pt x="8" y="352"/>
                  </a:lnTo>
                  <a:lnTo>
                    <a:pt x="11" y="367"/>
                  </a:lnTo>
                  <a:lnTo>
                    <a:pt x="15" y="381"/>
                  </a:lnTo>
                  <a:lnTo>
                    <a:pt x="21" y="394"/>
                  </a:lnTo>
                  <a:lnTo>
                    <a:pt x="27" y="407"/>
                  </a:lnTo>
                  <a:lnTo>
                    <a:pt x="34" y="420"/>
                  </a:lnTo>
                  <a:lnTo>
                    <a:pt x="41" y="432"/>
                  </a:lnTo>
                  <a:lnTo>
                    <a:pt x="49" y="445"/>
                  </a:lnTo>
                  <a:lnTo>
                    <a:pt x="59" y="457"/>
                  </a:lnTo>
                  <a:lnTo>
                    <a:pt x="68" y="469"/>
                  </a:lnTo>
                  <a:lnTo>
                    <a:pt x="79" y="480"/>
                  </a:lnTo>
                  <a:lnTo>
                    <a:pt x="90" y="490"/>
                  </a:lnTo>
                  <a:lnTo>
                    <a:pt x="102" y="501"/>
                  </a:lnTo>
                  <a:lnTo>
                    <a:pt x="25" y="653"/>
                  </a:lnTo>
                  <a:lnTo>
                    <a:pt x="24" y="657"/>
                  </a:lnTo>
                  <a:lnTo>
                    <a:pt x="24" y="662"/>
                  </a:lnTo>
                  <a:lnTo>
                    <a:pt x="25" y="665"/>
                  </a:lnTo>
                  <a:lnTo>
                    <a:pt x="28" y="667"/>
                  </a:lnTo>
                  <a:lnTo>
                    <a:pt x="31" y="670"/>
                  </a:lnTo>
                  <a:lnTo>
                    <a:pt x="36" y="671"/>
                  </a:lnTo>
                  <a:lnTo>
                    <a:pt x="39" y="671"/>
                  </a:lnTo>
                  <a:lnTo>
                    <a:pt x="42" y="670"/>
                  </a:lnTo>
                  <a:lnTo>
                    <a:pt x="240" y="574"/>
                  </a:lnTo>
                  <a:lnTo>
                    <a:pt x="268" y="582"/>
                  </a:lnTo>
                  <a:lnTo>
                    <a:pt x="299" y="587"/>
                  </a:lnTo>
                  <a:lnTo>
                    <a:pt x="329" y="590"/>
                  </a:lnTo>
                  <a:lnTo>
                    <a:pt x="360" y="591"/>
                  </a:lnTo>
                  <a:lnTo>
                    <a:pt x="379" y="590"/>
                  </a:lnTo>
                  <a:lnTo>
                    <a:pt x="397" y="590"/>
                  </a:lnTo>
                  <a:lnTo>
                    <a:pt x="414" y="588"/>
                  </a:lnTo>
                  <a:lnTo>
                    <a:pt x="432" y="585"/>
                  </a:lnTo>
                  <a:lnTo>
                    <a:pt x="450" y="582"/>
                  </a:lnTo>
                  <a:lnTo>
                    <a:pt x="467" y="578"/>
                  </a:lnTo>
                  <a:lnTo>
                    <a:pt x="483" y="574"/>
                  </a:lnTo>
                  <a:lnTo>
                    <a:pt x="500" y="568"/>
                  </a:lnTo>
                  <a:lnTo>
                    <a:pt x="516" y="562"/>
                  </a:lnTo>
                  <a:lnTo>
                    <a:pt x="531" y="556"/>
                  </a:lnTo>
                  <a:lnTo>
                    <a:pt x="546" y="549"/>
                  </a:lnTo>
                  <a:lnTo>
                    <a:pt x="561" y="540"/>
                  </a:lnTo>
                  <a:lnTo>
                    <a:pt x="575" y="532"/>
                  </a:lnTo>
                  <a:lnTo>
                    <a:pt x="588" y="524"/>
                  </a:lnTo>
                  <a:lnTo>
                    <a:pt x="601" y="514"/>
                  </a:lnTo>
                  <a:lnTo>
                    <a:pt x="614" y="505"/>
                  </a:lnTo>
                  <a:lnTo>
                    <a:pt x="626" y="494"/>
                  </a:lnTo>
                  <a:lnTo>
                    <a:pt x="637" y="483"/>
                  </a:lnTo>
                  <a:lnTo>
                    <a:pt x="648" y="472"/>
                  </a:lnTo>
                  <a:lnTo>
                    <a:pt x="658" y="461"/>
                  </a:lnTo>
                  <a:lnTo>
                    <a:pt x="667" y="449"/>
                  </a:lnTo>
                  <a:lnTo>
                    <a:pt x="676" y="437"/>
                  </a:lnTo>
                  <a:lnTo>
                    <a:pt x="683" y="424"/>
                  </a:lnTo>
                  <a:lnTo>
                    <a:pt x="690" y="411"/>
                  </a:lnTo>
                  <a:lnTo>
                    <a:pt x="698" y="397"/>
                  </a:lnTo>
                  <a:lnTo>
                    <a:pt x="703" y="383"/>
                  </a:lnTo>
                  <a:lnTo>
                    <a:pt x="708" y="369"/>
                  </a:lnTo>
                  <a:lnTo>
                    <a:pt x="712" y="355"/>
                  </a:lnTo>
                  <a:lnTo>
                    <a:pt x="715" y="340"/>
                  </a:lnTo>
                  <a:lnTo>
                    <a:pt x="718" y="326"/>
                  </a:lnTo>
                  <a:lnTo>
                    <a:pt x="719" y="311"/>
                  </a:lnTo>
                  <a:lnTo>
                    <a:pt x="719" y="296"/>
                  </a:lnTo>
                  <a:lnTo>
                    <a:pt x="719" y="281"/>
                  </a:lnTo>
                  <a:lnTo>
                    <a:pt x="718" y="265"/>
                  </a:lnTo>
                  <a:lnTo>
                    <a:pt x="715" y="251"/>
                  </a:lnTo>
                  <a:lnTo>
                    <a:pt x="712" y="237"/>
                  </a:lnTo>
                  <a:lnTo>
                    <a:pt x="708" y="223"/>
                  </a:lnTo>
                  <a:lnTo>
                    <a:pt x="703" y="208"/>
                  </a:lnTo>
                  <a:lnTo>
                    <a:pt x="698" y="194"/>
                  </a:lnTo>
                  <a:lnTo>
                    <a:pt x="690" y="181"/>
                  </a:lnTo>
                  <a:lnTo>
                    <a:pt x="683" y="168"/>
                  </a:lnTo>
                  <a:lnTo>
                    <a:pt x="676" y="155"/>
                  </a:lnTo>
                  <a:lnTo>
                    <a:pt x="667" y="143"/>
                  </a:lnTo>
                  <a:lnTo>
                    <a:pt x="658" y="131"/>
                  </a:lnTo>
                  <a:lnTo>
                    <a:pt x="648" y="119"/>
                  </a:lnTo>
                  <a:lnTo>
                    <a:pt x="637" y="108"/>
                  </a:lnTo>
                  <a:lnTo>
                    <a:pt x="626" y="98"/>
                  </a:lnTo>
                  <a:lnTo>
                    <a:pt x="614" y="87"/>
                  </a:lnTo>
                  <a:lnTo>
                    <a:pt x="601" y="78"/>
                  </a:lnTo>
                  <a:lnTo>
                    <a:pt x="588" y="68"/>
                  </a:lnTo>
                  <a:lnTo>
                    <a:pt x="575" y="60"/>
                  </a:lnTo>
                  <a:lnTo>
                    <a:pt x="561" y="51"/>
                  </a:lnTo>
                  <a:lnTo>
                    <a:pt x="546" y="43"/>
                  </a:lnTo>
                  <a:lnTo>
                    <a:pt x="531" y="36"/>
                  </a:lnTo>
                  <a:lnTo>
                    <a:pt x="516" y="30"/>
                  </a:lnTo>
                  <a:lnTo>
                    <a:pt x="500" y="24"/>
                  </a:lnTo>
                  <a:lnTo>
                    <a:pt x="483" y="18"/>
                  </a:lnTo>
                  <a:lnTo>
                    <a:pt x="467" y="13"/>
                  </a:lnTo>
                  <a:lnTo>
                    <a:pt x="450" y="10"/>
                  </a:lnTo>
                  <a:lnTo>
                    <a:pt x="432" y="6"/>
                  </a:lnTo>
                  <a:lnTo>
                    <a:pt x="414" y="4"/>
                  </a:lnTo>
                  <a:lnTo>
                    <a:pt x="397" y="1"/>
                  </a:lnTo>
                  <a:lnTo>
                    <a:pt x="379" y="1"/>
                  </a:lnTo>
                  <a:lnTo>
                    <a:pt x="360" y="0"/>
                  </a:lnTo>
                  <a:lnTo>
                    <a:pt x="360" y="0"/>
                  </a:lnTo>
                  <a:close/>
                </a:path>
              </a:pathLst>
            </a:custGeom>
            <a:solidFill>
              <a:srgbClr val="125680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2158167" y="5154939"/>
            <a:ext cx="1851317" cy="1430265"/>
            <a:chOff x="2158167" y="5234241"/>
            <a:chExt cx="1851317" cy="1430265"/>
          </a:xfrm>
        </p:grpSpPr>
        <p:sp>
          <p:nvSpPr>
            <p:cNvPr id="41" name="Text Placeholder 2"/>
            <p:cNvSpPr txBox="1">
              <a:spLocks/>
            </p:cNvSpPr>
            <p:nvPr/>
          </p:nvSpPr>
          <p:spPr>
            <a:xfrm>
              <a:off x="2158167" y="5597034"/>
              <a:ext cx="1851317" cy="106747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itur ini </a:t>
              </a:r>
              <a:r>
                <a:rPr lang="en-US" sz="12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mungkinkan</a:t>
              </a: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user untuk </a:t>
              </a:r>
              <a:r>
                <a:rPr lang="en-US" sz="12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tap</a:t>
              </a: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tau novel mana yang </a:t>
              </a:r>
              <a:r>
                <a:rPr lang="en-US" sz="12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narik</a:t>
              </a: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dan </a:t>
              </a:r>
              <a:r>
                <a:rPr lang="en-US" sz="12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kan</a:t>
              </a: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mbacanya</a:t>
              </a: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kemudian</a:t>
              </a: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hari</a:t>
              </a:r>
              <a:endPara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2158167" y="5234241"/>
              <a:ext cx="710194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dirty="0">
                  <a:solidFill>
                    <a:srgbClr val="B0F7F4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Favorit</a:t>
              </a:r>
              <a:endParaRPr lang="en-US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4625476" y="5269154"/>
            <a:ext cx="793266" cy="793266"/>
            <a:chOff x="1038361" y="5034396"/>
            <a:chExt cx="1021462" cy="1021462"/>
          </a:xfrm>
        </p:grpSpPr>
        <p:sp>
          <p:nvSpPr>
            <p:cNvPr id="64" name="Rectangle 63"/>
            <p:cNvSpPr/>
            <p:nvPr/>
          </p:nvSpPr>
          <p:spPr>
            <a:xfrm rot="2700000">
              <a:off x="1038361" y="5034396"/>
              <a:ext cx="1021462" cy="1021462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 rot="2700000">
              <a:off x="1157704" y="5153739"/>
              <a:ext cx="782776" cy="782776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35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5745282" y="5154939"/>
            <a:ext cx="1851317" cy="1648273"/>
            <a:chOff x="2158167" y="5234241"/>
            <a:chExt cx="1851317" cy="1648273"/>
          </a:xfrm>
        </p:grpSpPr>
        <p:sp>
          <p:nvSpPr>
            <p:cNvPr id="62" name="Text Placeholder 2"/>
            <p:cNvSpPr txBox="1">
              <a:spLocks/>
            </p:cNvSpPr>
            <p:nvPr/>
          </p:nvSpPr>
          <p:spPr>
            <a:xfrm>
              <a:off x="2158167" y="5597034"/>
              <a:ext cx="1851317" cy="128548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ser </a:t>
              </a:r>
              <a:r>
                <a:rPr lang="en-US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apat</a:t>
              </a:r>
              <a:r>
                <a:rPr lang="en-US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ngganti</a:t>
              </a:r>
              <a:r>
                <a:rPr lang="en-US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atanya</a:t>
              </a:r>
              <a:r>
                <a:rPr lang="en-US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suai</a:t>
              </a:r>
              <a:r>
                <a:rPr lang="en-US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 yang </a:t>
              </a:r>
              <a:r>
                <a:rPr lang="en-US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rsedia</a:t>
              </a:r>
              <a:r>
                <a:rPr lang="en-US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dan </a:t>
              </a:r>
              <a:r>
                <a:rPr lang="en-US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apat</a:t>
              </a:r>
              <a:r>
                <a:rPr lang="en-US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nambahkan</a:t>
              </a:r>
              <a:r>
                <a:rPr lang="en-US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About yang </a:t>
              </a:r>
              <a:r>
                <a:rPr lang="en-US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kan</a:t>
              </a:r>
              <a:r>
                <a:rPr lang="en-US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gunakan</a:t>
              </a:r>
              <a:r>
                <a:rPr lang="en-US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untuk </a:t>
              </a:r>
              <a:r>
                <a:rPr lang="en-US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ngenalkan</a:t>
              </a:r>
              <a:r>
                <a:rPr lang="en-US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rinya</a:t>
              </a:r>
              <a:r>
                <a:rPr lang="en-US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ke</a:t>
              </a:r>
              <a:r>
                <a:rPr lang="en-US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user lain</a:t>
              </a: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2158167" y="5234241"/>
              <a:ext cx="676980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dirty="0">
                  <a:solidFill>
                    <a:srgbClr val="B0F7F4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Profile</a:t>
              </a:r>
              <a:endParaRPr lang="en-US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68" name="Group 67"/>
          <p:cNvGrpSpPr/>
          <p:nvPr/>
        </p:nvGrpSpPr>
        <p:grpSpPr>
          <a:xfrm>
            <a:off x="8212591" y="5269154"/>
            <a:ext cx="793266" cy="793266"/>
            <a:chOff x="1038361" y="5034396"/>
            <a:chExt cx="1021462" cy="1021462"/>
          </a:xfrm>
        </p:grpSpPr>
        <p:sp>
          <p:nvSpPr>
            <p:cNvPr id="72" name="Rectangle 71"/>
            <p:cNvSpPr/>
            <p:nvPr/>
          </p:nvSpPr>
          <p:spPr>
            <a:xfrm rot="2700000">
              <a:off x="1038361" y="5034396"/>
              <a:ext cx="1021462" cy="1021462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 rot="2700000">
              <a:off x="1157704" y="5153739"/>
              <a:ext cx="782776" cy="782776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35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69" name="Group 68"/>
          <p:cNvGrpSpPr/>
          <p:nvPr/>
        </p:nvGrpSpPr>
        <p:grpSpPr>
          <a:xfrm>
            <a:off x="9332397" y="5154939"/>
            <a:ext cx="1851317" cy="1212256"/>
            <a:chOff x="2158167" y="5234241"/>
            <a:chExt cx="1851317" cy="1212256"/>
          </a:xfrm>
        </p:grpSpPr>
        <p:sp>
          <p:nvSpPr>
            <p:cNvPr id="70" name="Text Placeholder 2"/>
            <p:cNvSpPr txBox="1">
              <a:spLocks/>
            </p:cNvSpPr>
            <p:nvPr/>
          </p:nvSpPr>
          <p:spPr>
            <a:xfrm>
              <a:off x="2158167" y="5597034"/>
              <a:ext cx="1851317" cy="84946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sz="12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perti</a:t>
              </a: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Namanya user </a:t>
              </a:r>
              <a:r>
                <a:rPr lang="en-US" sz="12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kan</a:t>
              </a: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apat</a:t>
              </a: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mbaca</a:t>
              </a: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luruh</a:t>
              </a: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chapter yang </a:t>
              </a:r>
              <a:r>
                <a:rPr lang="en-US" sz="12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rsedia</a:t>
              </a: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berbagai</a:t>
              </a: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judul</a:t>
              </a: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novel</a:t>
              </a: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2158167" y="5234241"/>
              <a:ext cx="1706108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dirty="0">
                  <a:solidFill>
                    <a:srgbClr val="B0F7F4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Mode Membaca</a:t>
              </a:r>
              <a:endParaRPr lang="en-US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76" name="Group 75"/>
          <p:cNvGrpSpPr/>
          <p:nvPr/>
        </p:nvGrpSpPr>
        <p:grpSpPr>
          <a:xfrm>
            <a:off x="4892063" y="5535741"/>
            <a:ext cx="260092" cy="260092"/>
            <a:chOff x="3753097" y="4202817"/>
            <a:chExt cx="284163" cy="284163"/>
          </a:xfrm>
          <a:solidFill>
            <a:srgbClr val="125680"/>
          </a:solidFill>
          <a:effectLst/>
        </p:grpSpPr>
        <p:sp>
          <p:nvSpPr>
            <p:cNvPr id="77" name="Freeform 4450"/>
            <p:cNvSpPr>
              <a:spLocks/>
            </p:cNvSpPr>
            <p:nvPr/>
          </p:nvSpPr>
          <p:spPr bwMode="auto">
            <a:xfrm>
              <a:off x="3992810" y="4231392"/>
              <a:ext cx="44450" cy="47625"/>
            </a:xfrm>
            <a:custGeom>
              <a:avLst/>
              <a:gdLst>
                <a:gd name="T0" fmla="*/ 138 w 143"/>
                <a:gd name="T1" fmla="*/ 64 h 150"/>
                <a:gd name="T2" fmla="*/ 74 w 143"/>
                <a:gd name="T3" fmla="*/ 0 h 150"/>
                <a:gd name="T4" fmla="*/ 0 w 143"/>
                <a:gd name="T5" fmla="*/ 73 h 150"/>
                <a:gd name="T6" fmla="*/ 75 w 143"/>
                <a:gd name="T7" fmla="*/ 150 h 150"/>
                <a:gd name="T8" fmla="*/ 138 w 143"/>
                <a:gd name="T9" fmla="*/ 84 h 150"/>
                <a:gd name="T10" fmla="*/ 141 w 143"/>
                <a:gd name="T11" fmla="*/ 83 h 150"/>
                <a:gd name="T12" fmla="*/ 142 w 143"/>
                <a:gd name="T13" fmla="*/ 81 h 150"/>
                <a:gd name="T14" fmla="*/ 143 w 143"/>
                <a:gd name="T15" fmla="*/ 78 h 150"/>
                <a:gd name="T16" fmla="*/ 143 w 143"/>
                <a:gd name="T17" fmla="*/ 75 h 150"/>
                <a:gd name="T18" fmla="*/ 142 w 143"/>
                <a:gd name="T19" fmla="*/ 69 h 150"/>
                <a:gd name="T20" fmla="*/ 138 w 143"/>
                <a:gd name="T21" fmla="*/ 6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3" h="150">
                  <a:moveTo>
                    <a:pt x="138" y="64"/>
                  </a:moveTo>
                  <a:lnTo>
                    <a:pt x="74" y="0"/>
                  </a:lnTo>
                  <a:lnTo>
                    <a:pt x="0" y="73"/>
                  </a:lnTo>
                  <a:lnTo>
                    <a:pt x="75" y="150"/>
                  </a:lnTo>
                  <a:lnTo>
                    <a:pt x="138" y="84"/>
                  </a:lnTo>
                  <a:lnTo>
                    <a:pt x="141" y="83"/>
                  </a:lnTo>
                  <a:lnTo>
                    <a:pt x="142" y="81"/>
                  </a:lnTo>
                  <a:lnTo>
                    <a:pt x="143" y="78"/>
                  </a:lnTo>
                  <a:lnTo>
                    <a:pt x="143" y="75"/>
                  </a:lnTo>
                  <a:lnTo>
                    <a:pt x="142" y="69"/>
                  </a:lnTo>
                  <a:lnTo>
                    <a:pt x="138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4451"/>
            <p:cNvSpPr>
              <a:spLocks/>
            </p:cNvSpPr>
            <p:nvPr/>
          </p:nvSpPr>
          <p:spPr bwMode="auto">
            <a:xfrm>
              <a:off x="3961060" y="4202817"/>
              <a:ext cx="47625" cy="46038"/>
            </a:xfrm>
            <a:custGeom>
              <a:avLst/>
              <a:gdLst>
                <a:gd name="T0" fmla="*/ 149 w 149"/>
                <a:gd name="T1" fmla="*/ 68 h 143"/>
                <a:gd name="T2" fmla="*/ 86 w 149"/>
                <a:gd name="T3" fmla="*/ 4 h 143"/>
                <a:gd name="T4" fmla="*/ 84 w 149"/>
                <a:gd name="T5" fmla="*/ 2 h 143"/>
                <a:gd name="T6" fmla="*/ 80 w 149"/>
                <a:gd name="T7" fmla="*/ 1 h 143"/>
                <a:gd name="T8" fmla="*/ 78 w 149"/>
                <a:gd name="T9" fmla="*/ 0 h 143"/>
                <a:gd name="T10" fmla="*/ 75 w 149"/>
                <a:gd name="T11" fmla="*/ 0 h 143"/>
                <a:gd name="T12" fmla="*/ 75 w 149"/>
                <a:gd name="T13" fmla="*/ 0 h 143"/>
                <a:gd name="T14" fmla="*/ 75 w 149"/>
                <a:gd name="T15" fmla="*/ 0 h 143"/>
                <a:gd name="T16" fmla="*/ 72 w 149"/>
                <a:gd name="T17" fmla="*/ 0 h 143"/>
                <a:gd name="T18" fmla="*/ 69 w 149"/>
                <a:gd name="T19" fmla="*/ 1 h 143"/>
                <a:gd name="T20" fmla="*/ 66 w 149"/>
                <a:gd name="T21" fmla="*/ 2 h 143"/>
                <a:gd name="T22" fmla="*/ 64 w 149"/>
                <a:gd name="T23" fmla="*/ 4 h 143"/>
                <a:gd name="T24" fmla="*/ 0 w 149"/>
                <a:gd name="T25" fmla="*/ 68 h 143"/>
                <a:gd name="T26" fmla="*/ 75 w 149"/>
                <a:gd name="T27" fmla="*/ 143 h 143"/>
                <a:gd name="T28" fmla="*/ 149 w 149"/>
                <a:gd name="T29" fmla="*/ 68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9" h="143">
                  <a:moveTo>
                    <a:pt x="149" y="68"/>
                  </a:moveTo>
                  <a:lnTo>
                    <a:pt x="86" y="4"/>
                  </a:lnTo>
                  <a:lnTo>
                    <a:pt x="84" y="2"/>
                  </a:lnTo>
                  <a:lnTo>
                    <a:pt x="80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2" y="0"/>
                  </a:lnTo>
                  <a:lnTo>
                    <a:pt x="69" y="1"/>
                  </a:lnTo>
                  <a:lnTo>
                    <a:pt x="66" y="2"/>
                  </a:lnTo>
                  <a:lnTo>
                    <a:pt x="64" y="4"/>
                  </a:lnTo>
                  <a:lnTo>
                    <a:pt x="0" y="68"/>
                  </a:lnTo>
                  <a:lnTo>
                    <a:pt x="75" y="143"/>
                  </a:lnTo>
                  <a:lnTo>
                    <a:pt x="149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4452"/>
            <p:cNvSpPr>
              <a:spLocks noEditPoints="1"/>
            </p:cNvSpPr>
            <p:nvPr/>
          </p:nvSpPr>
          <p:spPr bwMode="auto">
            <a:xfrm>
              <a:off x="3753097" y="4231392"/>
              <a:ext cx="255588" cy="255588"/>
            </a:xfrm>
            <a:custGeom>
              <a:avLst/>
              <a:gdLst>
                <a:gd name="T0" fmla="*/ 382 w 808"/>
                <a:gd name="T1" fmla="*/ 623 h 807"/>
                <a:gd name="T2" fmla="*/ 323 w 808"/>
                <a:gd name="T3" fmla="*/ 603 h 807"/>
                <a:gd name="T4" fmla="*/ 272 w 808"/>
                <a:gd name="T5" fmla="*/ 570 h 807"/>
                <a:gd name="T6" fmla="*/ 230 w 808"/>
                <a:gd name="T7" fmla="*/ 526 h 807"/>
                <a:gd name="T8" fmla="*/ 199 w 808"/>
                <a:gd name="T9" fmla="*/ 473 h 807"/>
                <a:gd name="T10" fmla="*/ 182 w 808"/>
                <a:gd name="T11" fmla="*/ 413 h 807"/>
                <a:gd name="T12" fmla="*/ 181 w 808"/>
                <a:gd name="T13" fmla="*/ 348 h 807"/>
                <a:gd name="T14" fmla="*/ 195 w 808"/>
                <a:gd name="T15" fmla="*/ 287 h 807"/>
                <a:gd name="T16" fmla="*/ 223 w 808"/>
                <a:gd name="T17" fmla="*/ 232 h 807"/>
                <a:gd name="T18" fmla="*/ 263 w 808"/>
                <a:gd name="T19" fmla="*/ 186 h 807"/>
                <a:gd name="T20" fmla="*/ 313 w 808"/>
                <a:gd name="T21" fmla="*/ 151 h 807"/>
                <a:gd name="T22" fmla="*/ 370 w 808"/>
                <a:gd name="T23" fmla="*/ 128 h 807"/>
                <a:gd name="T24" fmla="*/ 433 w 808"/>
                <a:gd name="T25" fmla="*/ 119 h 807"/>
                <a:gd name="T26" fmla="*/ 498 w 808"/>
                <a:gd name="T27" fmla="*/ 128 h 807"/>
                <a:gd name="T28" fmla="*/ 554 w 808"/>
                <a:gd name="T29" fmla="*/ 151 h 807"/>
                <a:gd name="T30" fmla="*/ 605 w 808"/>
                <a:gd name="T31" fmla="*/ 186 h 807"/>
                <a:gd name="T32" fmla="*/ 644 w 808"/>
                <a:gd name="T33" fmla="*/ 232 h 807"/>
                <a:gd name="T34" fmla="*/ 672 w 808"/>
                <a:gd name="T35" fmla="*/ 287 h 807"/>
                <a:gd name="T36" fmla="*/ 687 w 808"/>
                <a:gd name="T37" fmla="*/ 348 h 807"/>
                <a:gd name="T38" fmla="*/ 685 w 808"/>
                <a:gd name="T39" fmla="*/ 413 h 807"/>
                <a:gd name="T40" fmla="*/ 668 w 808"/>
                <a:gd name="T41" fmla="*/ 473 h 807"/>
                <a:gd name="T42" fmla="*/ 638 w 808"/>
                <a:gd name="T43" fmla="*/ 526 h 807"/>
                <a:gd name="T44" fmla="*/ 595 w 808"/>
                <a:gd name="T45" fmla="*/ 570 h 807"/>
                <a:gd name="T46" fmla="*/ 544 w 808"/>
                <a:gd name="T47" fmla="*/ 603 h 807"/>
                <a:gd name="T48" fmla="*/ 485 w 808"/>
                <a:gd name="T49" fmla="*/ 623 h 807"/>
                <a:gd name="T50" fmla="*/ 184 w 808"/>
                <a:gd name="T51" fmla="*/ 643 h 807"/>
                <a:gd name="T52" fmla="*/ 169 w 808"/>
                <a:gd name="T53" fmla="*/ 634 h 807"/>
                <a:gd name="T54" fmla="*/ 167 w 808"/>
                <a:gd name="T55" fmla="*/ 616 h 807"/>
                <a:gd name="T56" fmla="*/ 181 w 808"/>
                <a:gd name="T57" fmla="*/ 604 h 807"/>
                <a:gd name="T58" fmla="*/ 198 w 808"/>
                <a:gd name="T59" fmla="*/ 609 h 807"/>
                <a:gd name="T60" fmla="*/ 203 w 808"/>
                <a:gd name="T61" fmla="*/ 628 h 807"/>
                <a:gd name="T62" fmla="*/ 192 w 808"/>
                <a:gd name="T63" fmla="*/ 642 h 807"/>
                <a:gd name="T64" fmla="*/ 121 w 808"/>
                <a:gd name="T65" fmla="*/ 697 h 807"/>
                <a:gd name="T66" fmla="*/ 109 w 808"/>
                <a:gd name="T67" fmla="*/ 684 h 807"/>
                <a:gd name="T68" fmla="*/ 115 w 808"/>
                <a:gd name="T69" fmla="*/ 667 h 807"/>
                <a:gd name="T70" fmla="*/ 132 w 808"/>
                <a:gd name="T71" fmla="*/ 662 h 807"/>
                <a:gd name="T72" fmla="*/ 146 w 808"/>
                <a:gd name="T73" fmla="*/ 673 h 807"/>
                <a:gd name="T74" fmla="*/ 143 w 808"/>
                <a:gd name="T75" fmla="*/ 691 h 807"/>
                <a:gd name="T76" fmla="*/ 129 w 808"/>
                <a:gd name="T77" fmla="*/ 698 h 807"/>
                <a:gd name="T78" fmla="*/ 459 w 808"/>
                <a:gd name="T79" fmla="*/ 91 h 807"/>
                <a:gd name="T80" fmla="*/ 391 w 808"/>
                <a:gd name="T81" fmla="*/ 93 h 807"/>
                <a:gd name="T82" fmla="*/ 323 w 808"/>
                <a:gd name="T83" fmla="*/ 112 h 807"/>
                <a:gd name="T84" fmla="*/ 263 w 808"/>
                <a:gd name="T85" fmla="*/ 146 h 807"/>
                <a:gd name="T86" fmla="*/ 214 w 808"/>
                <a:gd name="T87" fmla="*/ 193 h 807"/>
                <a:gd name="T88" fmla="*/ 178 w 808"/>
                <a:gd name="T89" fmla="*/ 251 h 807"/>
                <a:gd name="T90" fmla="*/ 155 w 808"/>
                <a:gd name="T91" fmla="*/ 317 h 807"/>
                <a:gd name="T92" fmla="*/ 150 w 808"/>
                <a:gd name="T93" fmla="*/ 387 h 807"/>
                <a:gd name="T94" fmla="*/ 167 w 808"/>
                <a:gd name="T95" fmla="*/ 471 h 807"/>
                <a:gd name="T96" fmla="*/ 0 w 808"/>
                <a:gd name="T97" fmla="*/ 643 h 807"/>
                <a:gd name="T98" fmla="*/ 4 w 808"/>
                <a:gd name="T99" fmla="*/ 803 h 807"/>
                <a:gd name="T100" fmla="*/ 166 w 808"/>
                <a:gd name="T101" fmla="*/ 807 h 807"/>
                <a:gd name="T102" fmla="*/ 337 w 808"/>
                <a:gd name="T103" fmla="*/ 642 h 807"/>
                <a:gd name="T104" fmla="*/ 421 w 808"/>
                <a:gd name="T105" fmla="*/ 658 h 807"/>
                <a:gd name="T106" fmla="*/ 491 w 808"/>
                <a:gd name="T107" fmla="*/ 652 h 807"/>
                <a:gd name="T108" fmla="*/ 557 w 808"/>
                <a:gd name="T109" fmla="*/ 630 h 807"/>
                <a:gd name="T110" fmla="*/ 614 w 808"/>
                <a:gd name="T111" fmla="*/ 593 h 807"/>
                <a:gd name="T112" fmla="*/ 661 w 808"/>
                <a:gd name="T113" fmla="*/ 544 h 807"/>
                <a:gd name="T114" fmla="*/ 696 w 808"/>
                <a:gd name="T115" fmla="*/ 484 h 807"/>
                <a:gd name="T116" fmla="*/ 715 w 808"/>
                <a:gd name="T117" fmla="*/ 417 h 807"/>
                <a:gd name="T118" fmla="*/ 717 w 808"/>
                <a:gd name="T119" fmla="*/ 350 h 807"/>
                <a:gd name="T120" fmla="*/ 804 w 808"/>
                <a:gd name="T121" fmla="*/ 175 h 8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08" h="807">
                  <a:moveTo>
                    <a:pt x="433" y="628"/>
                  </a:moveTo>
                  <a:lnTo>
                    <a:pt x="421" y="628"/>
                  </a:lnTo>
                  <a:lnTo>
                    <a:pt x="408" y="627"/>
                  </a:lnTo>
                  <a:lnTo>
                    <a:pt x="395" y="626"/>
                  </a:lnTo>
                  <a:lnTo>
                    <a:pt x="382" y="623"/>
                  </a:lnTo>
                  <a:lnTo>
                    <a:pt x="370" y="620"/>
                  </a:lnTo>
                  <a:lnTo>
                    <a:pt x="359" y="617"/>
                  </a:lnTo>
                  <a:lnTo>
                    <a:pt x="347" y="613"/>
                  </a:lnTo>
                  <a:lnTo>
                    <a:pt x="335" y="608"/>
                  </a:lnTo>
                  <a:lnTo>
                    <a:pt x="323" y="603"/>
                  </a:lnTo>
                  <a:lnTo>
                    <a:pt x="313" y="598"/>
                  </a:lnTo>
                  <a:lnTo>
                    <a:pt x="302" y="591"/>
                  </a:lnTo>
                  <a:lnTo>
                    <a:pt x="291" y="585"/>
                  </a:lnTo>
                  <a:lnTo>
                    <a:pt x="282" y="577"/>
                  </a:lnTo>
                  <a:lnTo>
                    <a:pt x="272" y="570"/>
                  </a:lnTo>
                  <a:lnTo>
                    <a:pt x="263" y="562"/>
                  </a:lnTo>
                  <a:lnTo>
                    <a:pt x="254" y="554"/>
                  </a:lnTo>
                  <a:lnTo>
                    <a:pt x="245" y="545"/>
                  </a:lnTo>
                  <a:lnTo>
                    <a:pt x="238" y="536"/>
                  </a:lnTo>
                  <a:lnTo>
                    <a:pt x="230" y="526"/>
                  </a:lnTo>
                  <a:lnTo>
                    <a:pt x="223" y="516"/>
                  </a:lnTo>
                  <a:lnTo>
                    <a:pt x="216" y="506"/>
                  </a:lnTo>
                  <a:lnTo>
                    <a:pt x="210" y="495"/>
                  </a:lnTo>
                  <a:lnTo>
                    <a:pt x="204" y="484"/>
                  </a:lnTo>
                  <a:lnTo>
                    <a:pt x="199" y="473"/>
                  </a:lnTo>
                  <a:lnTo>
                    <a:pt x="195" y="462"/>
                  </a:lnTo>
                  <a:lnTo>
                    <a:pt x="191" y="450"/>
                  </a:lnTo>
                  <a:lnTo>
                    <a:pt x="187" y="437"/>
                  </a:lnTo>
                  <a:lnTo>
                    <a:pt x="184" y="425"/>
                  </a:lnTo>
                  <a:lnTo>
                    <a:pt x="182" y="413"/>
                  </a:lnTo>
                  <a:lnTo>
                    <a:pt x="181" y="400"/>
                  </a:lnTo>
                  <a:lnTo>
                    <a:pt x="180" y="387"/>
                  </a:lnTo>
                  <a:lnTo>
                    <a:pt x="180" y="374"/>
                  </a:lnTo>
                  <a:lnTo>
                    <a:pt x="180" y="361"/>
                  </a:lnTo>
                  <a:lnTo>
                    <a:pt x="181" y="348"/>
                  </a:lnTo>
                  <a:lnTo>
                    <a:pt x="182" y="336"/>
                  </a:lnTo>
                  <a:lnTo>
                    <a:pt x="184" y="323"/>
                  </a:lnTo>
                  <a:lnTo>
                    <a:pt x="187" y="311"/>
                  </a:lnTo>
                  <a:lnTo>
                    <a:pt x="191" y="299"/>
                  </a:lnTo>
                  <a:lnTo>
                    <a:pt x="195" y="287"/>
                  </a:lnTo>
                  <a:lnTo>
                    <a:pt x="199" y="276"/>
                  </a:lnTo>
                  <a:lnTo>
                    <a:pt x="204" y="264"/>
                  </a:lnTo>
                  <a:lnTo>
                    <a:pt x="210" y="253"/>
                  </a:lnTo>
                  <a:lnTo>
                    <a:pt x="216" y="243"/>
                  </a:lnTo>
                  <a:lnTo>
                    <a:pt x="223" y="232"/>
                  </a:lnTo>
                  <a:lnTo>
                    <a:pt x="230" y="222"/>
                  </a:lnTo>
                  <a:lnTo>
                    <a:pt x="238" y="213"/>
                  </a:lnTo>
                  <a:lnTo>
                    <a:pt x="245" y="204"/>
                  </a:lnTo>
                  <a:lnTo>
                    <a:pt x="254" y="194"/>
                  </a:lnTo>
                  <a:lnTo>
                    <a:pt x="263" y="186"/>
                  </a:lnTo>
                  <a:lnTo>
                    <a:pt x="272" y="178"/>
                  </a:lnTo>
                  <a:lnTo>
                    <a:pt x="282" y="171"/>
                  </a:lnTo>
                  <a:lnTo>
                    <a:pt x="291" y="163"/>
                  </a:lnTo>
                  <a:lnTo>
                    <a:pt x="302" y="157"/>
                  </a:lnTo>
                  <a:lnTo>
                    <a:pt x="313" y="151"/>
                  </a:lnTo>
                  <a:lnTo>
                    <a:pt x="323" y="145"/>
                  </a:lnTo>
                  <a:lnTo>
                    <a:pt x="335" y="140"/>
                  </a:lnTo>
                  <a:lnTo>
                    <a:pt x="347" y="136"/>
                  </a:lnTo>
                  <a:lnTo>
                    <a:pt x="359" y="131"/>
                  </a:lnTo>
                  <a:lnTo>
                    <a:pt x="370" y="128"/>
                  </a:lnTo>
                  <a:lnTo>
                    <a:pt x="382" y="125"/>
                  </a:lnTo>
                  <a:lnTo>
                    <a:pt x="395" y="123"/>
                  </a:lnTo>
                  <a:lnTo>
                    <a:pt x="408" y="121"/>
                  </a:lnTo>
                  <a:lnTo>
                    <a:pt x="421" y="119"/>
                  </a:lnTo>
                  <a:lnTo>
                    <a:pt x="433" y="119"/>
                  </a:lnTo>
                  <a:lnTo>
                    <a:pt x="446" y="119"/>
                  </a:lnTo>
                  <a:lnTo>
                    <a:pt x="459" y="121"/>
                  </a:lnTo>
                  <a:lnTo>
                    <a:pt x="472" y="123"/>
                  </a:lnTo>
                  <a:lnTo>
                    <a:pt x="485" y="125"/>
                  </a:lnTo>
                  <a:lnTo>
                    <a:pt x="498" y="128"/>
                  </a:lnTo>
                  <a:lnTo>
                    <a:pt x="509" y="131"/>
                  </a:lnTo>
                  <a:lnTo>
                    <a:pt x="521" y="136"/>
                  </a:lnTo>
                  <a:lnTo>
                    <a:pt x="533" y="140"/>
                  </a:lnTo>
                  <a:lnTo>
                    <a:pt x="544" y="145"/>
                  </a:lnTo>
                  <a:lnTo>
                    <a:pt x="554" y="151"/>
                  </a:lnTo>
                  <a:lnTo>
                    <a:pt x="565" y="157"/>
                  </a:lnTo>
                  <a:lnTo>
                    <a:pt x="576" y="163"/>
                  </a:lnTo>
                  <a:lnTo>
                    <a:pt x="585" y="171"/>
                  </a:lnTo>
                  <a:lnTo>
                    <a:pt x="595" y="178"/>
                  </a:lnTo>
                  <a:lnTo>
                    <a:pt x="605" y="186"/>
                  </a:lnTo>
                  <a:lnTo>
                    <a:pt x="613" y="194"/>
                  </a:lnTo>
                  <a:lnTo>
                    <a:pt x="622" y="204"/>
                  </a:lnTo>
                  <a:lnTo>
                    <a:pt x="629" y="213"/>
                  </a:lnTo>
                  <a:lnTo>
                    <a:pt x="638" y="222"/>
                  </a:lnTo>
                  <a:lnTo>
                    <a:pt x="644" y="232"/>
                  </a:lnTo>
                  <a:lnTo>
                    <a:pt x="651" y="243"/>
                  </a:lnTo>
                  <a:lnTo>
                    <a:pt x="657" y="253"/>
                  </a:lnTo>
                  <a:lnTo>
                    <a:pt x="662" y="264"/>
                  </a:lnTo>
                  <a:lnTo>
                    <a:pt x="668" y="276"/>
                  </a:lnTo>
                  <a:lnTo>
                    <a:pt x="672" y="287"/>
                  </a:lnTo>
                  <a:lnTo>
                    <a:pt x="676" y="299"/>
                  </a:lnTo>
                  <a:lnTo>
                    <a:pt x="680" y="311"/>
                  </a:lnTo>
                  <a:lnTo>
                    <a:pt x="683" y="323"/>
                  </a:lnTo>
                  <a:lnTo>
                    <a:pt x="685" y="336"/>
                  </a:lnTo>
                  <a:lnTo>
                    <a:pt x="687" y="348"/>
                  </a:lnTo>
                  <a:lnTo>
                    <a:pt x="687" y="361"/>
                  </a:lnTo>
                  <a:lnTo>
                    <a:pt x="688" y="374"/>
                  </a:lnTo>
                  <a:lnTo>
                    <a:pt x="687" y="387"/>
                  </a:lnTo>
                  <a:lnTo>
                    <a:pt x="687" y="400"/>
                  </a:lnTo>
                  <a:lnTo>
                    <a:pt x="685" y="413"/>
                  </a:lnTo>
                  <a:lnTo>
                    <a:pt x="683" y="425"/>
                  </a:lnTo>
                  <a:lnTo>
                    <a:pt x="680" y="437"/>
                  </a:lnTo>
                  <a:lnTo>
                    <a:pt x="676" y="450"/>
                  </a:lnTo>
                  <a:lnTo>
                    <a:pt x="672" y="462"/>
                  </a:lnTo>
                  <a:lnTo>
                    <a:pt x="668" y="473"/>
                  </a:lnTo>
                  <a:lnTo>
                    <a:pt x="662" y="484"/>
                  </a:lnTo>
                  <a:lnTo>
                    <a:pt x="657" y="495"/>
                  </a:lnTo>
                  <a:lnTo>
                    <a:pt x="651" y="506"/>
                  </a:lnTo>
                  <a:lnTo>
                    <a:pt x="644" y="516"/>
                  </a:lnTo>
                  <a:lnTo>
                    <a:pt x="638" y="526"/>
                  </a:lnTo>
                  <a:lnTo>
                    <a:pt x="629" y="536"/>
                  </a:lnTo>
                  <a:lnTo>
                    <a:pt x="622" y="545"/>
                  </a:lnTo>
                  <a:lnTo>
                    <a:pt x="613" y="554"/>
                  </a:lnTo>
                  <a:lnTo>
                    <a:pt x="605" y="562"/>
                  </a:lnTo>
                  <a:lnTo>
                    <a:pt x="595" y="570"/>
                  </a:lnTo>
                  <a:lnTo>
                    <a:pt x="585" y="577"/>
                  </a:lnTo>
                  <a:lnTo>
                    <a:pt x="576" y="585"/>
                  </a:lnTo>
                  <a:lnTo>
                    <a:pt x="565" y="591"/>
                  </a:lnTo>
                  <a:lnTo>
                    <a:pt x="554" y="598"/>
                  </a:lnTo>
                  <a:lnTo>
                    <a:pt x="544" y="603"/>
                  </a:lnTo>
                  <a:lnTo>
                    <a:pt x="533" y="608"/>
                  </a:lnTo>
                  <a:lnTo>
                    <a:pt x="521" y="613"/>
                  </a:lnTo>
                  <a:lnTo>
                    <a:pt x="509" y="617"/>
                  </a:lnTo>
                  <a:lnTo>
                    <a:pt x="498" y="620"/>
                  </a:lnTo>
                  <a:lnTo>
                    <a:pt x="485" y="623"/>
                  </a:lnTo>
                  <a:lnTo>
                    <a:pt x="472" y="626"/>
                  </a:lnTo>
                  <a:lnTo>
                    <a:pt x="459" y="627"/>
                  </a:lnTo>
                  <a:lnTo>
                    <a:pt x="446" y="628"/>
                  </a:lnTo>
                  <a:lnTo>
                    <a:pt x="433" y="628"/>
                  </a:lnTo>
                  <a:close/>
                  <a:moveTo>
                    <a:pt x="184" y="643"/>
                  </a:moveTo>
                  <a:lnTo>
                    <a:pt x="181" y="643"/>
                  </a:lnTo>
                  <a:lnTo>
                    <a:pt x="178" y="642"/>
                  </a:lnTo>
                  <a:lnTo>
                    <a:pt x="175" y="639"/>
                  </a:lnTo>
                  <a:lnTo>
                    <a:pt x="171" y="637"/>
                  </a:lnTo>
                  <a:lnTo>
                    <a:pt x="169" y="634"/>
                  </a:lnTo>
                  <a:lnTo>
                    <a:pt x="167" y="631"/>
                  </a:lnTo>
                  <a:lnTo>
                    <a:pt x="166" y="628"/>
                  </a:lnTo>
                  <a:lnTo>
                    <a:pt x="166" y="623"/>
                  </a:lnTo>
                  <a:lnTo>
                    <a:pt x="166" y="620"/>
                  </a:lnTo>
                  <a:lnTo>
                    <a:pt x="167" y="616"/>
                  </a:lnTo>
                  <a:lnTo>
                    <a:pt x="169" y="613"/>
                  </a:lnTo>
                  <a:lnTo>
                    <a:pt x="171" y="609"/>
                  </a:lnTo>
                  <a:lnTo>
                    <a:pt x="175" y="607"/>
                  </a:lnTo>
                  <a:lnTo>
                    <a:pt x="178" y="605"/>
                  </a:lnTo>
                  <a:lnTo>
                    <a:pt x="181" y="604"/>
                  </a:lnTo>
                  <a:lnTo>
                    <a:pt x="184" y="604"/>
                  </a:lnTo>
                  <a:lnTo>
                    <a:pt x="188" y="604"/>
                  </a:lnTo>
                  <a:lnTo>
                    <a:pt x="192" y="605"/>
                  </a:lnTo>
                  <a:lnTo>
                    <a:pt x="195" y="607"/>
                  </a:lnTo>
                  <a:lnTo>
                    <a:pt x="198" y="609"/>
                  </a:lnTo>
                  <a:lnTo>
                    <a:pt x="200" y="613"/>
                  </a:lnTo>
                  <a:lnTo>
                    <a:pt x="202" y="616"/>
                  </a:lnTo>
                  <a:lnTo>
                    <a:pt x="203" y="620"/>
                  </a:lnTo>
                  <a:lnTo>
                    <a:pt x="203" y="623"/>
                  </a:lnTo>
                  <a:lnTo>
                    <a:pt x="203" y="628"/>
                  </a:lnTo>
                  <a:lnTo>
                    <a:pt x="202" y="631"/>
                  </a:lnTo>
                  <a:lnTo>
                    <a:pt x="200" y="634"/>
                  </a:lnTo>
                  <a:lnTo>
                    <a:pt x="198" y="637"/>
                  </a:lnTo>
                  <a:lnTo>
                    <a:pt x="195" y="639"/>
                  </a:lnTo>
                  <a:lnTo>
                    <a:pt x="192" y="642"/>
                  </a:lnTo>
                  <a:lnTo>
                    <a:pt x="188" y="643"/>
                  </a:lnTo>
                  <a:lnTo>
                    <a:pt x="184" y="643"/>
                  </a:lnTo>
                  <a:close/>
                  <a:moveTo>
                    <a:pt x="129" y="698"/>
                  </a:moveTo>
                  <a:lnTo>
                    <a:pt x="124" y="698"/>
                  </a:lnTo>
                  <a:lnTo>
                    <a:pt x="121" y="697"/>
                  </a:lnTo>
                  <a:lnTo>
                    <a:pt x="118" y="695"/>
                  </a:lnTo>
                  <a:lnTo>
                    <a:pt x="115" y="693"/>
                  </a:lnTo>
                  <a:lnTo>
                    <a:pt x="112" y="691"/>
                  </a:lnTo>
                  <a:lnTo>
                    <a:pt x="110" y="688"/>
                  </a:lnTo>
                  <a:lnTo>
                    <a:pt x="109" y="684"/>
                  </a:lnTo>
                  <a:lnTo>
                    <a:pt x="109" y="680"/>
                  </a:lnTo>
                  <a:lnTo>
                    <a:pt x="109" y="677"/>
                  </a:lnTo>
                  <a:lnTo>
                    <a:pt x="110" y="673"/>
                  </a:lnTo>
                  <a:lnTo>
                    <a:pt x="112" y="669"/>
                  </a:lnTo>
                  <a:lnTo>
                    <a:pt x="115" y="667"/>
                  </a:lnTo>
                  <a:lnTo>
                    <a:pt x="118" y="664"/>
                  </a:lnTo>
                  <a:lnTo>
                    <a:pt x="121" y="663"/>
                  </a:lnTo>
                  <a:lnTo>
                    <a:pt x="124" y="662"/>
                  </a:lnTo>
                  <a:lnTo>
                    <a:pt x="129" y="661"/>
                  </a:lnTo>
                  <a:lnTo>
                    <a:pt x="132" y="662"/>
                  </a:lnTo>
                  <a:lnTo>
                    <a:pt x="135" y="663"/>
                  </a:lnTo>
                  <a:lnTo>
                    <a:pt x="138" y="664"/>
                  </a:lnTo>
                  <a:lnTo>
                    <a:pt x="141" y="667"/>
                  </a:lnTo>
                  <a:lnTo>
                    <a:pt x="143" y="669"/>
                  </a:lnTo>
                  <a:lnTo>
                    <a:pt x="146" y="673"/>
                  </a:lnTo>
                  <a:lnTo>
                    <a:pt x="147" y="677"/>
                  </a:lnTo>
                  <a:lnTo>
                    <a:pt x="147" y="680"/>
                  </a:lnTo>
                  <a:lnTo>
                    <a:pt x="147" y="684"/>
                  </a:lnTo>
                  <a:lnTo>
                    <a:pt x="146" y="688"/>
                  </a:lnTo>
                  <a:lnTo>
                    <a:pt x="143" y="691"/>
                  </a:lnTo>
                  <a:lnTo>
                    <a:pt x="141" y="693"/>
                  </a:lnTo>
                  <a:lnTo>
                    <a:pt x="138" y="695"/>
                  </a:lnTo>
                  <a:lnTo>
                    <a:pt x="135" y="697"/>
                  </a:lnTo>
                  <a:lnTo>
                    <a:pt x="132" y="698"/>
                  </a:lnTo>
                  <a:lnTo>
                    <a:pt x="129" y="698"/>
                  </a:lnTo>
                  <a:close/>
                  <a:moveTo>
                    <a:pt x="530" y="108"/>
                  </a:moveTo>
                  <a:lnTo>
                    <a:pt x="507" y="100"/>
                  </a:lnTo>
                  <a:lnTo>
                    <a:pt x="484" y="95"/>
                  </a:lnTo>
                  <a:lnTo>
                    <a:pt x="471" y="93"/>
                  </a:lnTo>
                  <a:lnTo>
                    <a:pt x="459" y="91"/>
                  </a:lnTo>
                  <a:lnTo>
                    <a:pt x="446" y="91"/>
                  </a:lnTo>
                  <a:lnTo>
                    <a:pt x="433" y="90"/>
                  </a:lnTo>
                  <a:lnTo>
                    <a:pt x="420" y="91"/>
                  </a:lnTo>
                  <a:lnTo>
                    <a:pt x="405" y="92"/>
                  </a:lnTo>
                  <a:lnTo>
                    <a:pt x="391" y="93"/>
                  </a:lnTo>
                  <a:lnTo>
                    <a:pt x="377" y="96"/>
                  </a:lnTo>
                  <a:lnTo>
                    <a:pt x="363" y="99"/>
                  </a:lnTo>
                  <a:lnTo>
                    <a:pt x="349" y="102"/>
                  </a:lnTo>
                  <a:lnTo>
                    <a:pt x="336" y="107"/>
                  </a:lnTo>
                  <a:lnTo>
                    <a:pt x="323" y="112"/>
                  </a:lnTo>
                  <a:lnTo>
                    <a:pt x="310" y="118"/>
                  </a:lnTo>
                  <a:lnTo>
                    <a:pt x="299" y="125"/>
                  </a:lnTo>
                  <a:lnTo>
                    <a:pt x="287" y="131"/>
                  </a:lnTo>
                  <a:lnTo>
                    <a:pt x="275" y="139"/>
                  </a:lnTo>
                  <a:lnTo>
                    <a:pt x="263" y="146"/>
                  </a:lnTo>
                  <a:lnTo>
                    <a:pt x="253" y="155"/>
                  </a:lnTo>
                  <a:lnTo>
                    <a:pt x="243" y="164"/>
                  </a:lnTo>
                  <a:lnTo>
                    <a:pt x="233" y="173"/>
                  </a:lnTo>
                  <a:lnTo>
                    <a:pt x="224" y="184"/>
                  </a:lnTo>
                  <a:lnTo>
                    <a:pt x="214" y="193"/>
                  </a:lnTo>
                  <a:lnTo>
                    <a:pt x="206" y="204"/>
                  </a:lnTo>
                  <a:lnTo>
                    <a:pt x="198" y="216"/>
                  </a:lnTo>
                  <a:lnTo>
                    <a:pt x="191" y="228"/>
                  </a:lnTo>
                  <a:lnTo>
                    <a:pt x="184" y="239"/>
                  </a:lnTo>
                  <a:lnTo>
                    <a:pt x="178" y="251"/>
                  </a:lnTo>
                  <a:lnTo>
                    <a:pt x="172" y="264"/>
                  </a:lnTo>
                  <a:lnTo>
                    <a:pt x="167" y="277"/>
                  </a:lnTo>
                  <a:lnTo>
                    <a:pt x="163" y="290"/>
                  </a:lnTo>
                  <a:lnTo>
                    <a:pt x="158" y="303"/>
                  </a:lnTo>
                  <a:lnTo>
                    <a:pt x="155" y="317"/>
                  </a:lnTo>
                  <a:lnTo>
                    <a:pt x="153" y="331"/>
                  </a:lnTo>
                  <a:lnTo>
                    <a:pt x="151" y="345"/>
                  </a:lnTo>
                  <a:lnTo>
                    <a:pt x="150" y="359"/>
                  </a:lnTo>
                  <a:lnTo>
                    <a:pt x="150" y="374"/>
                  </a:lnTo>
                  <a:lnTo>
                    <a:pt x="150" y="387"/>
                  </a:lnTo>
                  <a:lnTo>
                    <a:pt x="151" y="400"/>
                  </a:lnTo>
                  <a:lnTo>
                    <a:pt x="152" y="412"/>
                  </a:lnTo>
                  <a:lnTo>
                    <a:pt x="154" y="424"/>
                  </a:lnTo>
                  <a:lnTo>
                    <a:pt x="160" y="448"/>
                  </a:lnTo>
                  <a:lnTo>
                    <a:pt x="167" y="471"/>
                  </a:lnTo>
                  <a:lnTo>
                    <a:pt x="4" y="631"/>
                  </a:lnTo>
                  <a:lnTo>
                    <a:pt x="2" y="634"/>
                  </a:lnTo>
                  <a:lnTo>
                    <a:pt x="1" y="636"/>
                  </a:lnTo>
                  <a:lnTo>
                    <a:pt x="0" y="639"/>
                  </a:lnTo>
                  <a:lnTo>
                    <a:pt x="0" y="643"/>
                  </a:lnTo>
                  <a:lnTo>
                    <a:pt x="0" y="792"/>
                  </a:lnTo>
                  <a:lnTo>
                    <a:pt x="0" y="796"/>
                  </a:lnTo>
                  <a:lnTo>
                    <a:pt x="1" y="799"/>
                  </a:lnTo>
                  <a:lnTo>
                    <a:pt x="2" y="801"/>
                  </a:lnTo>
                  <a:lnTo>
                    <a:pt x="4" y="803"/>
                  </a:lnTo>
                  <a:lnTo>
                    <a:pt x="7" y="805"/>
                  </a:lnTo>
                  <a:lnTo>
                    <a:pt x="9" y="806"/>
                  </a:lnTo>
                  <a:lnTo>
                    <a:pt x="12" y="807"/>
                  </a:lnTo>
                  <a:lnTo>
                    <a:pt x="15" y="807"/>
                  </a:lnTo>
                  <a:lnTo>
                    <a:pt x="166" y="807"/>
                  </a:lnTo>
                  <a:lnTo>
                    <a:pt x="169" y="807"/>
                  </a:lnTo>
                  <a:lnTo>
                    <a:pt x="171" y="806"/>
                  </a:lnTo>
                  <a:lnTo>
                    <a:pt x="175" y="805"/>
                  </a:lnTo>
                  <a:lnTo>
                    <a:pt x="177" y="803"/>
                  </a:lnTo>
                  <a:lnTo>
                    <a:pt x="337" y="642"/>
                  </a:lnTo>
                  <a:lnTo>
                    <a:pt x="361" y="648"/>
                  </a:lnTo>
                  <a:lnTo>
                    <a:pt x="384" y="653"/>
                  </a:lnTo>
                  <a:lnTo>
                    <a:pt x="396" y="655"/>
                  </a:lnTo>
                  <a:lnTo>
                    <a:pt x="409" y="657"/>
                  </a:lnTo>
                  <a:lnTo>
                    <a:pt x="421" y="658"/>
                  </a:lnTo>
                  <a:lnTo>
                    <a:pt x="433" y="658"/>
                  </a:lnTo>
                  <a:lnTo>
                    <a:pt x="448" y="658"/>
                  </a:lnTo>
                  <a:lnTo>
                    <a:pt x="462" y="657"/>
                  </a:lnTo>
                  <a:lnTo>
                    <a:pt x="477" y="654"/>
                  </a:lnTo>
                  <a:lnTo>
                    <a:pt x="491" y="652"/>
                  </a:lnTo>
                  <a:lnTo>
                    <a:pt x="504" y="649"/>
                  </a:lnTo>
                  <a:lnTo>
                    <a:pt x="518" y="645"/>
                  </a:lnTo>
                  <a:lnTo>
                    <a:pt x="531" y="640"/>
                  </a:lnTo>
                  <a:lnTo>
                    <a:pt x="544" y="635"/>
                  </a:lnTo>
                  <a:lnTo>
                    <a:pt x="557" y="630"/>
                  </a:lnTo>
                  <a:lnTo>
                    <a:pt x="569" y="623"/>
                  </a:lnTo>
                  <a:lnTo>
                    <a:pt x="581" y="617"/>
                  </a:lnTo>
                  <a:lnTo>
                    <a:pt x="593" y="609"/>
                  </a:lnTo>
                  <a:lnTo>
                    <a:pt x="604" y="602"/>
                  </a:lnTo>
                  <a:lnTo>
                    <a:pt x="614" y="593"/>
                  </a:lnTo>
                  <a:lnTo>
                    <a:pt x="625" y="584"/>
                  </a:lnTo>
                  <a:lnTo>
                    <a:pt x="635" y="575"/>
                  </a:lnTo>
                  <a:lnTo>
                    <a:pt x="644" y="565"/>
                  </a:lnTo>
                  <a:lnTo>
                    <a:pt x="653" y="555"/>
                  </a:lnTo>
                  <a:lnTo>
                    <a:pt x="661" y="544"/>
                  </a:lnTo>
                  <a:lnTo>
                    <a:pt x="669" y="532"/>
                  </a:lnTo>
                  <a:lnTo>
                    <a:pt x="676" y="522"/>
                  </a:lnTo>
                  <a:lnTo>
                    <a:pt x="684" y="509"/>
                  </a:lnTo>
                  <a:lnTo>
                    <a:pt x="690" y="497"/>
                  </a:lnTo>
                  <a:lnTo>
                    <a:pt x="696" y="484"/>
                  </a:lnTo>
                  <a:lnTo>
                    <a:pt x="701" y="471"/>
                  </a:lnTo>
                  <a:lnTo>
                    <a:pt x="705" y="459"/>
                  </a:lnTo>
                  <a:lnTo>
                    <a:pt x="708" y="445"/>
                  </a:lnTo>
                  <a:lnTo>
                    <a:pt x="712" y="431"/>
                  </a:lnTo>
                  <a:lnTo>
                    <a:pt x="715" y="417"/>
                  </a:lnTo>
                  <a:lnTo>
                    <a:pt x="716" y="403"/>
                  </a:lnTo>
                  <a:lnTo>
                    <a:pt x="717" y="388"/>
                  </a:lnTo>
                  <a:lnTo>
                    <a:pt x="718" y="374"/>
                  </a:lnTo>
                  <a:lnTo>
                    <a:pt x="717" y="361"/>
                  </a:lnTo>
                  <a:lnTo>
                    <a:pt x="717" y="350"/>
                  </a:lnTo>
                  <a:lnTo>
                    <a:pt x="715" y="337"/>
                  </a:lnTo>
                  <a:lnTo>
                    <a:pt x="714" y="325"/>
                  </a:lnTo>
                  <a:lnTo>
                    <a:pt x="708" y="301"/>
                  </a:lnTo>
                  <a:lnTo>
                    <a:pt x="701" y="278"/>
                  </a:lnTo>
                  <a:lnTo>
                    <a:pt x="804" y="175"/>
                  </a:lnTo>
                  <a:lnTo>
                    <a:pt x="808" y="172"/>
                  </a:lnTo>
                  <a:lnTo>
                    <a:pt x="637" y="0"/>
                  </a:lnTo>
                  <a:lnTo>
                    <a:pt x="530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4453"/>
            <p:cNvSpPr>
              <a:spLocks/>
            </p:cNvSpPr>
            <p:nvPr/>
          </p:nvSpPr>
          <p:spPr bwMode="auto">
            <a:xfrm>
              <a:off x="3884860" y="4317117"/>
              <a:ext cx="44450" cy="74613"/>
            </a:xfrm>
            <a:custGeom>
              <a:avLst/>
              <a:gdLst>
                <a:gd name="T0" fmla="*/ 30 w 140"/>
                <a:gd name="T1" fmla="*/ 103 h 238"/>
                <a:gd name="T2" fmla="*/ 30 w 140"/>
                <a:gd name="T3" fmla="*/ 15 h 238"/>
                <a:gd name="T4" fmla="*/ 30 w 140"/>
                <a:gd name="T5" fmla="*/ 12 h 238"/>
                <a:gd name="T6" fmla="*/ 29 w 140"/>
                <a:gd name="T7" fmla="*/ 9 h 238"/>
                <a:gd name="T8" fmla="*/ 28 w 140"/>
                <a:gd name="T9" fmla="*/ 7 h 238"/>
                <a:gd name="T10" fmla="*/ 26 w 140"/>
                <a:gd name="T11" fmla="*/ 5 h 238"/>
                <a:gd name="T12" fmla="*/ 24 w 140"/>
                <a:gd name="T13" fmla="*/ 2 h 238"/>
                <a:gd name="T14" fmla="*/ 22 w 140"/>
                <a:gd name="T15" fmla="*/ 1 h 238"/>
                <a:gd name="T16" fmla="*/ 19 w 140"/>
                <a:gd name="T17" fmla="*/ 0 h 238"/>
                <a:gd name="T18" fmla="*/ 15 w 140"/>
                <a:gd name="T19" fmla="*/ 0 h 238"/>
                <a:gd name="T20" fmla="*/ 12 w 140"/>
                <a:gd name="T21" fmla="*/ 0 h 238"/>
                <a:gd name="T22" fmla="*/ 10 w 140"/>
                <a:gd name="T23" fmla="*/ 1 h 238"/>
                <a:gd name="T24" fmla="*/ 7 w 140"/>
                <a:gd name="T25" fmla="*/ 2 h 238"/>
                <a:gd name="T26" fmla="*/ 5 w 140"/>
                <a:gd name="T27" fmla="*/ 5 h 238"/>
                <a:gd name="T28" fmla="*/ 4 w 140"/>
                <a:gd name="T29" fmla="*/ 7 h 238"/>
                <a:gd name="T30" fmla="*/ 2 w 140"/>
                <a:gd name="T31" fmla="*/ 9 h 238"/>
                <a:gd name="T32" fmla="*/ 2 w 140"/>
                <a:gd name="T33" fmla="*/ 12 h 238"/>
                <a:gd name="T34" fmla="*/ 0 w 140"/>
                <a:gd name="T35" fmla="*/ 15 h 238"/>
                <a:gd name="T36" fmla="*/ 0 w 140"/>
                <a:gd name="T37" fmla="*/ 109 h 238"/>
                <a:gd name="T38" fmla="*/ 0 w 140"/>
                <a:gd name="T39" fmla="*/ 113 h 238"/>
                <a:gd name="T40" fmla="*/ 2 w 140"/>
                <a:gd name="T41" fmla="*/ 115 h 238"/>
                <a:gd name="T42" fmla="*/ 3 w 140"/>
                <a:gd name="T43" fmla="*/ 118 h 238"/>
                <a:gd name="T44" fmla="*/ 5 w 140"/>
                <a:gd name="T45" fmla="*/ 120 h 238"/>
                <a:gd name="T46" fmla="*/ 114 w 140"/>
                <a:gd name="T47" fmla="*/ 233 h 238"/>
                <a:gd name="T48" fmla="*/ 116 w 140"/>
                <a:gd name="T49" fmla="*/ 236 h 238"/>
                <a:gd name="T50" fmla="*/ 119 w 140"/>
                <a:gd name="T51" fmla="*/ 237 h 238"/>
                <a:gd name="T52" fmla="*/ 122 w 140"/>
                <a:gd name="T53" fmla="*/ 238 h 238"/>
                <a:gd name="T54" fmla="*/ 125 w 140"/>
                <a:gd name="T55" fmla="*/ 238 h 238"/>
                <a:gd name="T56" fmla="*/ 128 w 140"/>
                <a:gd name="T57" fmla="*/ 238 h 238"/>
                <a:gd name="T58" fmla="*/ 130 w 140"/>
                <a:gd name="T59" fmla="*/ 237 h 238"/>
                <a:gd name="T60" fmla="*/ 133 w 140"/>
                <a:gd name="T61" fmla="*/ 236 h 238"/>
                <a:gd name="T62" fmla="*/ 135 w 140"/>
                <a:gd name="T63" fmla="*/ 233 h 238"/>
                <a:gd name="T64" fmla="*/ 137 w 140"/>
                <a:gd name="T65" fmla="*/ 231 h 238"/>
                <a:gd name="T66" fmla="*/ 139 w 140"/>
                <a:gd name="T67" fmla="*/ 228 h 238"/>
                <a:gd name="T68" fmla="*/ 140 w 140"/>
                <a:gd name="T69" fmla="*/ 226 h 238"/>
                <a:gd name="T70" fmla="*/ 140 w 140"/>
                <a:gd name="T71" fmla="*/ 223 h 238"/>
                <a:gd name="T72" fmla="*/ 140 w 140"/>
                <a:gd name="T73" fmla="*/ 221 h 238"/>
                <a:gd name="T74" fmla="*/ 139 w 140"/>
                <a:gd name="T75" fmla="*/ 217 h 238"/>
                <a:gd name="T76" fmla="*/ 137 w 140"/>
                <a:gd name="T77" fmla="*/ 215 h 238"/>
                <a:gd name="T78" fmla="*/ 135 w 140"/>
                <a:gd name="T79" fmla="*/ 212 h 238"/>
                <a:gd name="T80" fmla="*/ 30 w 140"/>
                <a:gd name="T81" fmla="*/ 103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0" h="238">
                  <a:moveTo>
                    <a:pt x="30" y="103"/>
                  </a:moveTo>
                  <a:lnTo>
                    <a:pt x="30" y="15"/>
                  </a:lnTo>
                  <a:lnTo>
                    <a:pt x="30" y="12"/>
                  </a:lnTo>
                  <a:lnTo>
                    <a:pt x="29" y="9"/>
                  </a:lnTo>
                  <a:lnTo>
                    <a:pt x="28" y="7"/>
                  </a:lnTo>
                  <a:lnTo>
                    <a:pt x="26" y="5"/>
                  </a:lnTo>
                  <a:lnTo>
                    <a:pt x="24" y="2"/>
                  </a:lnTo>
                  <a:lnTo>
                    <a:pt x="22" y="1"/>
                  </a:lnTo>
                  <a:lnTo>
                    <a:pt x="19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5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2" y="12"/>
                  </a:lnTo>
                  <a:lnTo>
                    <a:pt x="0" y="15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5"/>
                  </a:lnTo>
                  <a:lnTo>
                    <a:pt x="3" y="118"/>
                  </a:lnTo>
                  <a:lnTo>
                    <a:pt x="5" y="120"/>
                  </a:lnTo>
                  <a:lnTo>
                    <a:pt x="114" y="233"/>
                  </a:lnTo>
                  <a:lnTo>
                    <a:pt x="116" y="236"/>
                  </a:lnTo>
                  <a:lnTo>
                    <a:pt x="119" y="237"/>
                  </a:lnTo>
                  <a:lnTo>
                    <a:pt x="122" y="238"/>
                  </a:lnTo>
                  <a:lnTo>
                    <a:pt x="125" y="238"/>
                  </a:lnTo>
                  <a:lnTo>
                    <a:pt x="128" y="238"/>
                  </a:lnTo>
                  <a:lnTo>
                    <a:pt x="130" y="237"/>
                  </a:lnTo>
                  <a:lnTo>
                    <a:pt x="133" y="236"/>
                  </a:lnTo>
                  <a:lnTo>
                    <a:pt x="135" y="233"/>
                  </a:lnTo>
                  <a:lnTo>
                    <a:pt x="137" y="231"/>
                  </a:lnTo>
                  <a:lnTo>
                    <a:pt x="139" y="228"/>
                  </a:lnTo>
                  <a:lnTo>
                    <a:pt x="140" y="226"/>
                  </a:lnTo>
                  <a:lnTo>
                    <a:pt x="140" y="223"/>
                  </a:lnTo>
                  <a:lnTo>
                    <a:pt x="140" y="221"/>
                  </a:lnTo>
                  <a:lnTo>
                    <a:pt x="139" y="217"/>
                  </a:lnTo>
                  <a:lnTo>
                    <a:pt x="137" y="215"/>
                  </a:lnTo>
                  <a:lnTo>
                    <a:pt x="135" y="212"/>
                  </a:lnTo>
                  <a:lnTo>
                    <a:pt x="30" y="1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8462001" y="5516692"/>
            <a:ext cx="294448" cy="260092"/>
            <a:chOff x="7600950" y="779463"/>
            <a:chExt cx="285750" cy="252412"/>
          </a:xfrm>
          <a:solidFill>
            <a:srgbClr val="125680"/>
          </a:solidFill>
          <a:effectLst/>
        </p:grpSpPr>
        <p:sp>
          <p:nvSpPr>
            <p:cNvPr id="85" name="Freeform 3135"/>
            <p:cNvSpPr>
              <a:spLocks/>
            </p:cNvSpPr>
            <p:nvPr/>
          </p:nvSpPr>
          <p:spPr bwMode="auto">
            <a:xfrm>
              <a:off x="7677150" y="779463"/>
              <a:ext cx="209550" cy="242888"/>
            </a:xfrm>
            <a:custGeom>
              <a:avLst/>
              <a:gdLst>
                <a:gd name="T0" fmla="*/ 526 w 527"/>
                <a:gd name="T1" fmla="*/ 282 h 612"/>
                <a:gd name="T2" fmla="*/ 523 w 527"/>
                <a:gd name="T3" fmla="*/ 270 h 612"/>
                <a:gd name="T4" fmla="*/ 516 w 527"/>
                <a:gd name="T5" fmla="*/ 255 h 612"/>
                <a:gd name="T6" fmla="*/ 500 w 527"/>
                <a:gd name="T7" fmla="*/ 240 h 612"/>
                <a:gd name="T8" fmla="*/ 484 w 527"/>
                <a:gd name="T9" fmla="*/ 231 h 612"/>
                <a:gd name="T10" fmla="*/ 472 w 527"/>
                <a:gd name="T11" fmla="*/ 229 h 612"/>
                <a:gd name="T12" fmla="*/ 244 w 527"/>
                <a:gd name="T13" fmla="*/ 229 h 612"/>
                <a:gd name="T14" fmla="*/ 256 w 527"/>
                <a:gd name="T15" fmla="*/ 196 h 612"/>
                <a:gd name="T16" fmla="*/ 267 w 527"/>
                <a:gd name="T17" fmla="*/ 154 h 612"/>
                <a:gd name="T18" fmla="*/ 273 w 527"/>
                <a:gd name="T19" fmla="*/ 110 h 612"/>
                <a:gd name="T20" fmla="*/ 273 w 527"/>
                <a:gd name="T21" fmla="*/ 90 h 612"/>
                <a:gd name="T22" fmla="*/ 269 w 527"/>
                <a:gd name="T23" fmla="*/ 71 h 612"/>
                <a:gd name="T24" fmla="*/ 262 w 527"/>
                <a:gd name="T25" fmla="*/ 49 h 612"/>
                <a:gd name="T26" fmla="*/ 252 w 527"/>
                <a:gd name="T27" fmla="*/ 33 h 612"/>
                <a:gd name="T28" fmla="*/ 243 w 527"/>
                <a:gd name="T29" fmla="*/ 21 h 612"/>
                <a:gd name="T30" fmla="*/ 233 w 527"/>
                <a:gd name="T31" fmla="*/ 11 h 612"/>
                <a:gd name="T32" fmla="*/ 215 w 527"/>
                <a:gd name="T33" fmla="*/ 3 h 612"/>
                <a:gd name="T34" fmla="*/ 202 w 527"/>
                <a:gd name="T35" fmla="*/ 0 h 612"/>
                <a:gd name="T36" fmla="*/ 184 w 527"/>
                <a:gd name="T37" fmla="*/ 5 h 612"/>
                <a:gd name="T38" fmla="*/ 169 w 527"/>
                <a:gd name="T39" fmla="*/ 16 h 612"/>
                <a:gd name="T40" fmla="*/ 159 w 527"/>
                <a:gd name="T41" fmla="*/ 33 h 612"/>
                <a:gd name="T42" fmla="*/ 155 w 527"/>
                <a:gd name="T43" fmla="*/ 53 h 612"/>
                <a:gd name="T44" fmla="*/ 151 w 527"/>
                <a:gd name="T45" fmla="*/ 90 h 612"/>
                <a:gd name="T46" fmla="*/ 140 w 527"/>
                <a:gd name="T47" fmla="*/ 127 h 612"/>
                <a:gd name="T48" fmla="*/ 124 w 527"/>
                <a:gd name="T49" fmla="*/ 162 h 612"/>
                <a:gd name="T50" fmla="*/ 102 w 527"/>
                <a:gd name="T51" fmla="*/ 197 h 612"/>
                <a:gd name="T52" fmla="*/ 79 w 527"/>
                <a:gd name="T53" fmla="*/ 226 h 612"/>
                <a:gd name="T54" fmla="*/ 52 w 527"/>
                <a:gd name="T55" fmla="*/ 254 h 612"/>
                <a:gd name="T56" fmla="*/ 26 w 527"/>
                <a:gd name="T57" fmla="*/ 275 h 612"/>
                <a:gd name="T58" fmla="*/ 0 w 527"/>
                <a:gd name="T59" fmla="*/ 291 h 612"/>
                <a:gd name="T60" fmla="*/ 17 w 527"/>
                <a:gd name="T61" fmla="*/ 586 h 612"/>
                <a:gd name="T62" fmla="*/ 48 w 527"/>
                <a:gd name="T63" fmla="*/ 592 h 612"/>
                <a:gd name="T64" fmla="*/ 88 w 527"/>
                <a:gd name="T65" fmla="*/ 602 h 612"/>
                <a:gd name="T66" fmla="*/ 129 w 527"/>
                <a:gd name="T67" fmla="*/ 610 h 612"/>
                <a:gd name="T68" fmla="*/ 161 w 527"/>
                <a:gd name="T69" fmla="*/ 612 h 612"/>
                <a:gd name="T70" fmla="*/ 383 w 527"/>
                <a:gd name="T71" fmla="*/ 612 h 612"/>
                <a:gd name="T72" fmla="*/ 403 w 527"/>
                <a:gd name="T73" fmla="*/ 608 h 612"/>
                <a:gd name="T74" fmla="*/ 419 w 527"/>
                <a:gd name="T75" fmla="*/ 600 h 612"/>
                <a:gd name="T76" fmla="*/ 428 w 527"/>
                <a:gd name="T77" fmla="*/ 585 h 612"/>
                <a:gd name="T78" fmla="*/ 431 w 527"/>
                <a:gd name="T79" fmla="*/ 564 h 612"/>
                <a:gd name="T80" fmla="*/ 428 w 527"/>
                <a:gd name="T81" fmla="*/ 550 h 612"/>
                <a:gd name="T82" fmla="*/ 424 w 527"/>
                <a:gd name="T83" fmla="*/ 538 h 612"/>
                <a:gd name="T84" fmla="*/ 441 w 527"/>
                <a:gd name="T85" fmla="*/ 532 h 612"/>
                <a:gd name="T86" fmla="*/ 455 w 527"/>
                <a:gd name="T87" fmla="*/ 523 h 612"/>
                <a:gd name="T88" fmla="*/ 464 w 527"/>
                <a:gd name="T89" fmla="*/ 508 h 612"/>
                <a:gd name="T90" fmla="*/ 466 w 527"/>
                <a:gd name="T91" fmla="*/ 492 h 612"/>
                <a:gd name="T92" fmla="*/ 464 w 527"/>
                <a:gd name="T93" fmla="*/ 472 h 612"/>
                <a:gd name="T94" fmla="*/ 456 w 527"/>
                <a:gd name="T95" fmla="*/ 455 h 612"/>
                <a:gd name="T96" fmla="*/ 475 w 527"/>
                <a:gd name="T97" fmla="*/ 447 h 612"/>
                <a:gd name="T98" fmla="*/ 489 w 527"/>
                <a:gd name="T99" fmla="*/ 433 h 612"/>
                <a:gd name="T100" fmla="*/ 499 w 527"/>
                <a:gd name="T101" fmla="*/ 416 h 612"/>
                <a:gd name="T102" fmla="*/ 502 w 527"/>
                <a:gd name="T103" fmla="*/ 397 h 612"/>
                <a:gd name="T104" fmla="*/ 501 w 527"/>
                <a:gd name="T105" fmla="*/ 386 h 612"/>
                <a:gd name="T106" fmla="*/ 497 w 527"/>
                <a:gd name="T107" fmla="*/ 375 h 612"/>
                <a:gd name="T108" fmla="*/ 484 w 527"/>
                <a:gd name="T109" fmla="*/ 357 h 612"/>
                <a:gd name="T110" fmla="*/ 503 w 527"/>
                <a:gd name="T111" fmla="*/ 345 h 612"/>
                <a:gd name="T112" fmla="*/ 516 w 527"/>
                <a:gd name="T113" fmla="*/ 329 h 612"/>
                <a:gd name="T114" fmla="*/ 523 w 527"/>
                <a:gd name="T115" fmla="*/ 309 h 612"/>
                <a:gd name="T116" fmla="*/ 527 w 527"/>
                <a:gd name="T117" fmla="*/ 288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7" h="612">
                  <a:moveTo>
                    <a:pt x="527" y="288"/>
                  </a:moveTo>
                  <a:lnTo>
                    <a:pt x="526" y="282"/>
                  </a:lnTo>
                  <a:lnTo>
                    <a:pt x="526" y="276"/>
                  </a:lnTo>
                  <a:lnTo>
                    <a:pt x="523" y="270"/>
                  </a:lnTo>
                  <a:lnTo>
                    <a:pt x="522" y="266"/>
                  </a:lnTo>
                  <a:lnTo>
                    <a:pt x="516" y="255"/>
                  </a:lnTo>
                  <a:lnTo>
                    <a:pt x="509" y="247"/>
                  </a:lnTo>
                  <a:lnTo>
                    <a:pt x="500" y="240"/>
                  </a:lnTo>
                  <a:lnTo>
                    <a:pt x="489" y="234"/>
                  </a:lnTo>
                  <a:lnTo>
                    <a:pt x="484" y="231"/>
                  </a:lnTo>
                  <a:lnTo>
                    <a:pt x="478" y="230"/>
                  </a:lnTo>
                  <a:lnTo>
                    <a:pt x="472" y="229"/>
                  </a:lnTo>
                  <a:lnTo>
                    <a:pt x="466" y="229"/>
                  </a:lnTo>
                  <a:lnTo>
                    <a:pt x="244" y="229"/>
                  </a:lnTo>
                  <a:lnTo>
                    <a:pt x="250" y="213"/>
                  </a:lnTo>
                  <a:lnTo>
                    <a:pt x="256" y="196"/>
                  </a:lnTo>
                  <a:lnTo>
                    <a:pt x="261" y="175"/>
                  </a:lnTo>
                  <a:lnTo>
                    <a:pt x="267" y="154"/>
                  </a:lnTo>
                  <a:lnTo>
                    <a:pt x="270" y="131"/>
                  </a:lnTo>
                  <a:lnTo>
                    <a:pt x="273" y="110"/>
                  </a:lnTo>
                  <a:lnTo>
                    <a:pt x="273" y="99"/>
                  </a:lnTo>
                  <a:lnTo>
                    <a:pt x="273" y="90"/>
                  </a:lnTo>
                  <a:lnTo>
                    <a:pt x="271" y="80"/>
                  </a:lnTo>
                  <a:lnTo>
                    <a:pt x="269" y="71"/>
                  </a:lnTo>
                  <a:lnTo>
                    <a:pt x="265" y="60"/>
                  </a:lnTo>
                  <a:lnTo>
                    <a:pt x="262" y="49"/>
                  </a:lnTo>
                  <a:lnTo>
                    <a:pt x="257" y="41"/>
                  </a:lnTo>
                  <a:lnTo>
                    <a:pt x="252" y="33"/>
                  </a:lnTo>
                  <a:lnTo>
                    <a:pt x="248" y="25"/>
                  </a:lnTo>
                  <a:lnTo>
                    <a:pt x="243" y="21"/>
                  </a:lnTo>
                  <a:lnTo>
                    <a:pt x="238" y="16"/>
                  </a:lnTo>
                  <a:lnTo>
                    <a:pt x="233" y="11"/>
                  </a:lnTo>
                  <a:lnTo>
                    <a:pt x="224" y="6"/>
                  </a:lnTo>
                  <a:lnTo>
                    <a:pt x="215" y="3"/>
                  </a:lnTo>
                  <a:lnTo>
                    <a:pt x="208" y="2"/>
                  </a:lnTo>
                  <a:lnTo>
                    <a:pt x="202" y="0"/>
                  </a:lnTo>
                  <a:lnTo>
                    <a:pt x="193" y="2"/>
                  </a:lnTo>
                  <a:lnTo>
                    <a:pt x="184" y="5"/>
                  </a:lnTo>
                  <a:lnTo>
                    <a:pt x="176" y="10"/>
                  </a:lnTo>
                  <a:lnTo>
                    <a:pt x="169" y="16"/>
                  </a:lnTo>
                  <a:lnTo>
                    <a:pt x="163" y="23"/>
                  </a:lnTo>
                  <a:lnTo>
                    <a:pt x="159" y="33"/>
                  </a:lnTo>
                  <a:lnTo>
                    <a:pt x="156" y="42"/>
                  </a:lnTo>
                  <a:lnTo>
                    <a:pt x="155" y="53"/>
                  </a:lnTo>
                  <a:lnTo>
                    <a:pt x="155" y="71"/>
                  </a:lnTo>
                  <a:lnTo>
                    <a:pt x="151" y="90"/>
                  </a:lnTo>
                  <a:lnTo>
                    <a:pt x="146" y="109"/>
                  </a:lnTo>
                  <a:lnTo>
                    <a:pt x="140" y="127"/>
                  </a:lnTo>
                  <a:lnTo>
                    <a:pt x="133" y="144"/>
                  </a:lnTo>
                  <a:lnTo>
                    <a:pt x="124" y="162"/>
                  </a:lnTo>
                  <a:lnTo>
                    <a:pt x="114" y="180"/>
                  </a:lnTo>
                  <a:lnTo>
                    <a:pt x="102" y="197"/>
                  </a:lnTo>
                  <a:lnTo>
                    <a:pt x="91" y="212"/>
                  </a:lnTo>
                  <a:lnTo>
                    <a:pt x="79" y="226"/>
                  </a:lnTo>
                  <a:lnTo>
                    <a:pt x="66" y="241"/>
                  </a:lnTo>
                  <a:lnTo>
                    <a:pt x="52" y="254"/>
                  </a:lnTo>
                  <a:lnTo>
                    <a:pt x="39" y="266"/>
                  </a:lnTo>
                  <a:lnTo>
                    <a:pt x="26" y="275"/>
                  </a:lnTo>
                  <a:lnTo>
                    <a:pt x="12" y="284"/>
                  </a:lnTo>
                  <a:lnTo>
                    <a:pt x="0" y="291"/>
                  </a:lnTo>
                  <a:lnTo>
                    <a:pt x="0" y="582"/>
                  </a:lnTo>
                  <a:lnTo>
                    <a:pt x="17" y="586"/>
                  </a:lnTo>
                  <a:lnTo>
                    <a:pt x="32" y="588"/>
                  </a:lnTo>
                  <a:lnTo>
                    <a:pt x="48" y="592"/>
                  </a:lnTo>
                  <a:lnTo>
                    <a:pt x="61" y="595"/>
                  </a:lnTo>
                  <a:lnTo>
                    <a:pt x="88" y="602"/>
                  </a:lnTo>
                  <a:lnTo>
                    <a:pt x="114" y="607"/>
                  </a:lnTo>
                  <a:lnTo>
                    <a:pt x="129" y="610"/>
                  </a:lnTo>
                  <a:lnTo>
                    <a:pt x="144" y="611"/>
                  </a:lnTo>
                  <a:lnTo>
                    <a:pt x="161" y="612"/>
                  </a:lnTo>
                  <a:lnTo>
                    <a:pt x="180" y="612"/>
                  </a:lnTo>
                  <a:lnTo>
                    <a:pt x="383" y="612"/>
                  </a:lnTo>
                  <a:lnTo>
                    <a:pt x="394" y="611"/>
                  </a:lnTo>
                  <a:lnTo>
                    <a:pt x="403" y="608"/>
                  </a:lnTo>
                  <a:lnTo>
                    <a:pt x="412" y="605"/>
                  </a:lnTo>
                  <a:lnTo>
                    <a:pt x="419" y="600"/>
                  </a:lnTo>
                  <a:lnTo>
                    <a:pt x="424" y="593"/>
                  </a:lnTo>
                  <a:lnTo>
                    <a:pt x="428" y="585"/>
                  </a:lnTo>
                  <a:lnTo>
                    <a:pt x="430" y="575"/>
                  </a:lnTo>
                  <a:lnTo>
                    <a:pt x="431" y="564"/>
                  </a:lnTo>
                  <a:lnTo>
                    <a:pt x="431" y="557"/>
                  </a:lnTo>
                  <a:lnTo>
                    <a:pt x="428" y="550"/>
                  </a:lnTo>
                  <a:lnTo>
                    <a:pt x="426" y="544"/>
                  </a:lnTo>
                  <a:lnTo>
                    <a:pt x="424" y="538"/>
                  </a:lnTo>
                  <a:lnTo>
                    <a:pt x="433" y="536"/>
                  </a:lnTo>
                  <a:lnTo>
                    <a:pt x="441" y="532"/>
                  </a:lnTo>
                  <a:lnTo>
                    <a:pt x="449" y="527"/>
                  </a:lnTo>
                  <a:lnTo>
                    <a:pt x="455" y="523"/>
                  </a:lnTo>
                  <a:lnTo>
                    <a:pt x="460" y="516"/>
                  </a:lnTo>
                  <a:lnTo>
                    <a:pt x="464" y="508"/>
                  </a:lnTo>
                  <a:lnTo>
                    <a:pt x="466" y="501"/>
                  </a:lnTo>
                  <a:lnTo>
                    <a:pt x="466" y="492"/>
                  </a:lnTo>
                  <a:lnTo>
                    <a:pt x="466" y="481"/>
                  </a:lnTo>
                  <a:lnTo>
                    <a:pt x="464" y="472"/>
                  </a:lnTo>
                  <a:lnTo>
                    <a:pt x="460" y="462"/>
                  </a:lnTo>
                  <a:lnTo>
                    <a:pt x="456" y="455"/>
                  </a:lnTo>
                  <a:lnTo>
                    <a:pt x="465" y="451"/>
                  </a:lnTo>
                  <a:lnTo>
                    <a:pt x="475" y="447"/>
                  </a:lnTo>
                  <a:lnTo>
                    <a:pt x="482" y="441"/>
                  </a:lnTo>
                  <a:lnTo>
                    <a:pt x="489" y="433"/>
                  </a:lnTo>
                  <a:lnTo>
                    <a:pt x="495" y="425"/>
                  </a:lnTo>
                  <a:lnTo>
                    <a:pt x="499" y="416"/>
                  </a:lnTo>
                  <a:lnTo>
                    <a:pt x="502" y="406"/>
                  </a:lnTo>
                  <a:lnTo>
                    <a:pt x="502" y="397"/>
                  </a:lnTo>
                  <a:lnTo>
                    <a:pt x="502" y="391"/>
                  </a:lnTo>
                  <a:lnTo>
                    <a:pt x="501" y="386"/>
                  </a:lnTo>
                  <a:lnTo>
                    <a:pt x="500" y="380"/>
                  </a:lnTo>
                  <a:lnTo>
                    <a:pt x="497" y="375"/>
                  </a:lnTo>
                  <a:lnTo>
                    <a:pt x="491" y="366"/>
                  </a:lnTo>
                  <a:lnTo>
                    <a:pt x="484" y="357"/>
                  </a:lnTo>
                  <a:lnTo>
                    <a:pt x="495" y="353"/>
                  </a:lnTo>
                  <a:lnTo>
                    <a:pt x="503" y="345"/>
                  </a:lnTo>
                  <a:lnTo>
                    <a:pt x="510" y="338"/>
                  </a:lnTo>
                  <a:lnTo>
                    <a:pt x="516" y="329"/>
                  </a:lnTo>
                  <a:lnTo>
                    <a:pt x="521" y="319"/>
                  </a:lnTo>
                  <a:lnTo>
                    <a:pt x="523" y="309"/>
                  </a:lnTo>
                  <a:lnTo>
                    <a:pt x="526" y="298"/>
                  </a:lnTo>
                  <a:lnTo>
                    <a:pt x="527" y="2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3136"/>
            <p:cNvSpPr>
              <a:spLocks noEditPoints="1"/>
            </p:cNvSpPr>
            <p:nvPr/>
          </p:nvSpPr>
          <p:spPr bwMode="auto">
            <a:xfrm>
              <a:off x="7600950" y="879475"/>
              <a:ext cx="66675" cy="152400"/>
            </a:xfrm>
            <a:custGeom>
              <a:avLst/>
              <a:gdLst>
                <a:gd name="T0" fmla="*/ 104 w 168"/>
                <a:gd name="T1" fmla="*/ 330 h 385"/>
                <a:gd name="T2" fmla="*/ 98 w 168"/>
                <a:gd name="T3" fmla="*/ 329 h 385"/>
                <a:gd name="T4" fmla="*/ 93 w 168"/>
                <a:gd name="T5" fmla="*/ 326 h 385"/>
                <a:gd name="T6" fmla="*/ 90 w 168"/>
                <a:gd name="T7" fmla="*/ 320 h 385"/>
                <a:gd name="T8" fmla="*/ 88 w 168"/>
                <a:gd name="T9" fmla="*/ 316 h 385"/>
                <a:gd name="T10" fmla="*/ 90 w 168"/>
                <a:gd name="T11" fmla="*/ 310 h 385"/>
                <a:gd name="T12" fmla="*/ 93 w 168"/>
                <a:gd name="T13" fmla="*/ 305 h 385"/>
                <a:gd name="T14" fmla="*/ 98 w 168"/>
                <a:gd name="T15" fmla="*/ 301 h 385"/>
                <a:gd name="T16" fmla="*/ 104 w 168"/>
                <a:gd name="T17" fmla="*/ 300 h 385"/>
                <a:gd name="T18" fmla="*/ 110 w 168"/>
                <a:gd name="T19" fmla="*/ 301 h 385"/>
                <a:gd name="T20" fmla="*/ 115 w 168"/>
                <a:gd name="T21" fmla="*/ 305 h 385"/>
                <a:gd name="T22" fmla="*/ 117 w 168"/>
                <a:gd name="T23" fmla="*/ 310 h 385"/>
                <a:gd name="T24" fmla="*/ 118 w 168"/>
                <a:gd name="T25" fmla="*/ 316 h 385"/>
                <a:gd name="T26" fmla="*/ 117 w 168"/>
                <a:gd name="T27" fmla="*/ 320 h 385"/>
                <a:gd name="T28" fmla="*/ 115 w 168"/>
                <a:gd name="T29" fmla="*/ 326 h 385"/>
                <a:gd name="T30" fmla="*/ 110 w 168"/>
                <a:gd name="T31" fmla="*/ 329 h 385"/>
                <a:gd name="T32" fmla="*/ 104 w 168"/>
                <a:gd name="T33" fmla="*/ 330 h 385"/>
                <a:gd name="T34" fmla="*/ 104 w 168"/>
                <a:gd name="T35" fmla="*/ 330 h 385"/>
                <a:gd name="T36" fmla="*/ 156 w 168"/>
                <a:gd name="T37" fmla="*/ 2 h 385"/>
                <a:gd name="T38" fmla="*/ 13 w 168"/>
                <a:gd name="T39" fmla="*/ 0 h 385"/>
                <a:gd name="T40" fmla="*/ 9 w 168"/>
                <a:gd name="T41" fmla="*/ 2 h 385"/>
                <a:gd name="T42" fmla="*/ 4 w 168"/>
                <a:gd name="T43" fmla="*/ 4 h 385"/>
                <a:gd name="T44" fmla="*/ 2 w 168"/>
                <a:gd name="T45" fmla="*/ 9 h 385"/>
                <a:gd name="T46" fmla="*/ 0 w 168"/>
                <a:gd name="T47" fmla="*/ 14 h 385"/>
                <a:gd name="T48" fmla="*/ 0 w 168"/>
                <a:gd name="T49" fmla="*/ 373 h 385"/>
                <a:gd name="T50" fmla="*/ 2 w 168"/>
                <a:gd name="T51" fmla="*/ 378 h 385"/>
                <a:gd name="T52" fmla="*/ 4 w 168"/>
                <a:gd name="T53" fmla="*/ 381 h 385"/>
                <a:gd name="T54" fmla="*/ 9 w 168"/>
                <a:gd name="T55" fmla="*/ 383 h 385"/>
                <a:gd name="T56" fmla="*/ 13 w 168"/>
                <a:gd name="T57" fmla="*/ 385 h 385"/>
                <a:gd name="T58" fmla="*/ 156 w 168"/>
                <a:gd name="T59" fmla="*/ 385 h 385"/>
                <a:gd name="T60" fmla="*/ 161 w 168"/>
                <a:gd name="T61" fmla="*/ 383 h 385"/>
                <a:gd name="T62" fmla="*/ 165 w 168"/>
                <a:gd name="T63" fmla="*/ 381 h 385"/>
                <a:gd name="T64" fmla="*/ 168 w 168"/>
                <a:gd name="T65" fmla="*/ 378 h 385"/>
                <a:gd name="T66" fmla="*/ 168 w 168"/>
                <a:gd name="T67" fmla="*/ 373 h 385"/>
                <a:gd name="T68" fmla="*/ 168 w 168"/>
                <a:gd name="T69" fmla="*/ 303 h 385"/>
                <a:gd name="T70" fmla="*/ 168 w 168"/>
                <a:gd name="T71" fmla="*/ 72 h 385"/>
                <a:gd name="T72" fmla="*/ 168 w 168"/>
                <a:gd name="T73" fmla="*/ 14 h 385"/>
                <a:gd name="T74" fmla="*/ 168 w 168"/>
                <a:gd name="T75" fmla="*/ 9 h 385"/>
                <a:gd name="T76" fmla="*/ 166 w 168"/>
                <a:gd name="T77" fmla="*/ 5 h 385"/>
                <a:gd name="T78" fmla="*/ 161 w 168"/>
                <a:gd name="T79" fmla="*/ 3 h 385"/>
                <a:gd name="T80" fmla="*/ 156 w 168"/>
                <a:gd name="T81" fmla="*/ 2 h 385"/>
                <a:gd name="T82" fmla="*/ 156 w 168"/>
                <a:gd name="T83" fmla="*/ 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8" h="385">
                  <a:moveTo>
                    <a:pt x="104" y="330"/>
                  </a:moveTo>
                  <a:lnTo>
                    <a:pt x="98" y="329"/>
                  </a:lnTo>
                  <a:lnTo>
                    <a:pt x="93" y="326"/>
                  </a:lnTo>
                  <a:lnTo>
                    <a:pt x="90" y="320"/>
                  </a:lnTo>
                  <a:lnTo>
                    <a:pt x="88" y="316"/>
                  </a:lnTo>
                  <a:lnTo>
                    <a:pt x="90" y="310"/>
                  </a:lnTo>
                  <a:lnTo>
                    <a:pt x="93" y="305"/>
                  </a:lnTo>
                  <a:lnTo>
                    <a:pt x="98" y="301"/>
                  </a:lnTo>
                  <a:lnTo>
                    <a:pt x="104" y="300"/>
                  </a:lnTo>
                  <a:lnTo>
                    <a:pt x="110" y="301"/>
                  </a:lnTo>
                  <a:lnTo>
                    <a:pt x="115" y="305"/>
                  </a:lnTo>
                  <a:lnTo>
                    <a:pt x="117" y="310"/>
                  </a:lnTo>
                  <a:lnTo>
                    <a:pt x="118" y="316"/>
                  </a:lnTo>
                  <a:lnTo>
                    <a:pt x="117" y="320"/>
                  </a:lnTo>
                  <a:lnTo>
                    <a:pt x="115" y="326"/>
                  </a:lnTo>
                  <a:lnTo>
                    <a:pt x="110" y="329"/>
                  </a:lnTo>
                  <a:lnTo>
                    <a:pt x="104" y="330"/>
                  </a:lnTo>
                  <a:lnTo>
                    <a:pt x="104" y="330"/>
                  </a:lnTo>
                  <a:close/>
                  <a:moveTo>
                    <a:pt x="156" y="2"/>
                  </a:moveTo>
                  <a:lnTo>
                    <a:pt x="13" y="0"/>
                  </a:lnTo>
                  <a:lnTo>
                    <a:pt x="9" y="2"/>
                  </a:lnTo>
                  <a:lnTo>
                    <a:pt x="4" y="4"/>
                  </a:lnTo>
                  <a:lnTo>
                    <a:pt x="2" y="9"/>
                  </a:lnTo>
                  <a:lnTo>
                    <a:pt x="0" y="14"/>
                  </a:lnTo>
                  <a:lnTo>
                    <a:pt x="0" y="373"/>
                  </a:lnTo>
                  <a:lnTo>
                    <a:pt x="2" y="378"/>
                  </a:lnTo>
                  <a:lnTo>
                    <a:pt x="4" y="381"/>
                  </a:lnTo>
                  <a:lnTo>
                    <a:pt x="9" y="383"/>
                  </a:lnTo>
                  <a:lnTo>
                    <a:pt x="13" y="385"/>
                  </a:lnTo>
                  <a:lnTo>
                    <a:pt x="156" y="385"/>
                  </a:lnTo>
                  <a:lnTo>
                    <a:pt x="161" y="383"/>
                  </a:lnTo>
                  <a:lnTo>
                    <a:pt x="165" y="381"/>
                  </a:lnTo>
                  <a:lnTo>
                    <a:pt x="168" y="378"/>
                  </a:lnTo>
                  <a:lnTo>
                    <a:pt x="168" y="373"/>
                  </a:lnTo>
                  <a:lnTo>
                    <a:pt x="168" y="303"/>
                  </a:lnTo>
                  <a:lnTo>
                    <a:pt x="168" y="72"/>
                  </a:lnTo>
                  <a:lnTo>
                    <a:pt x="168" y="14"/>
                  </a:lnTo>
                  <a:lnTo>
                    <a:pt x="168" y="9"/>
                  </a:lnTo>
                  <a:lnTo>
                    <a:pt x="166" y="5"/>
                  </a:lnTo>
                  <a:lnTo>
                    <a:pt x="161" y="3"/>
                  </a:lnTo>
                  <a:lnTo>
                    <a:pt x="156" y="2"/>
                  </a:lnTo>
                  <a:lnTo>
                    <a:pt x="156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7" name="Freeform 1592"/>
          <p:cNvSpPr>
            <a:spLocks noEditPoints="1"/>
          </p:cNvSpPr>
          <p:nvPr/>
        </p:nvSpPr>
        <p:spPr bwMode="auto">
          <a:xfrm>
            <a:off x="821069" y="2143480"/>
            <a:ext cx="414075" cy="386623"/>
          </a:xfrm>
          <a:custGeom>
            <a:avLst/>
            <a:gdLst>
              <a:gd name="T0" fmla="*/ 91 w 905"/>
              <a:gd name="T1" fmla="*/ 90 h 845"/>
              <a:gd name="T2" fmla="*/ 452 w 905"/>
              <a:gd name="T3" fmla="*/ 679 h 845"/>
              <a:gd name="T4" fmla="*/ 436 w 905"/>
              <a:gd name="T5" fmla="*/ 673 h 845"/>
              <a:gd name="T6" fmla="*/ 425 w 905"/>
              <a:gd name="T7" fmla="*/ 660 h 845"/>
              <a:gd name="T8" fmla="*/ 423 w 905"/>
              <a:gd name="T9" fmla="*/ 642 h 845"/>
              <a:gd name="T10" fmla="*/ 431 w 905"/>
              <a:gd name="T11" fmla="*/ 627 h 845"/>
              <a:gd name="T12" fmla="*/ 447 w 905"/>
              <a:gd name="T13" fmla="*/ 619 h 845"/>
              <a:gd name="T14" fmla="*/ 465 w 905"/>
              <a:gd name="T15" fmla="*/ 621 h 845"/>
              <a:gd name="T16" fmla="*/ 478 w 905"/>
              <a:gd name="T17" fmla="*/ 631 h 845"/>
              <a:gd name="T18" fmla="*/ 482 w 905"/>
              <a:gd name="T19" fmla="*/ 649 h 845"/>
              <a:gd name="T20" fmla="*/ 478 w 905"/>
              <a:gd name="T21" fmla="*/ 666 h 845"/>
              <a:gd name="T22" fmla="*/ 465 w 905"/>
              <a:gd name="T23" fmla="*/ 677 h 845"/>
              <a:gd name="T24" fmla="*/ 830 w 905"/>
              <a:gd name="T25" fmla="*/ 0 h 845"/>
              <a:gd name="T26" fmla="*/ 60 w 905"/>
              <a:gd name="T27" fmla="*/ 2 h 845"/>
              <a:gd name="T28" fmla="*/ 40 w 905"/>
              <a:gd name="T29" fmla="*/ 8 h 845"/>
              <a:gd name="T30" fmla="*/ 22 w 905"/>
              <a:gd name="T31" fmla="*/ 22 h 845"/>
              <a:gd name="T32" fmla="*/ 9 w 905"/>
              <a:gd name="T33" fmla="*/ 39 h 845"/>
              <a:gd name="T34" fmla="*/ 1 w 905"/>
              <a:gd name="T35" fmla="*/ 60 h 845"/>
              <a:gd name="T36" fmla="*/ 0 w 905"/>
              <a:gd name="T37" fmla="*/ 649 h 845"/>
              <a:gd name="T38" fmla="*/ 3 w 905"/>
              <a:gd name="T39" fmla="*/ 671 h 845"/>
              <a:gd name="T40" fmla="*/ 13 w 905"/>
              <a:gd name="T41" fmla="*/ 691 h 845"/>
              <a:gd name="T42" fmla="*/ 28 w 905"/>
              <a:gd name="T43" fmla="*/ 706 h 845"/>
              <a:gd name="T44" fmla="*/ 46 w 905"/>
              <a:gd name="T45" fmla="*/ 718 h 845"/>
              <a:gd name="T46" fmla="*/ 67 w 905"/>
              <a:gd name="T47" fmla="*/ 724 h 845"/>
              <a:gd name="T48" fmla="*/ 306 w 905"/>
              <a:gd name="T49" fmla="*/ 815 h 845"/>
              <a:gd name="T50" fmla="*/ 175 w 905"/>
              <a:gd name="T51" fmla="*/ 816 h 845"/>
              <a:gd name="T52" fmla="*/ 168 w 905"/>
              <a:gd name="T53" fmla="*/ 822 h 845"/>
              <a:gd name="T54" fmla="*/ 166 w 905"/>
              <a:gd name="T55" fmla="*/ 829 h 845"/>
              <a:gd name="T56" fmla="*/ 168 w 905"/>
              <a:gd name="T57" fmla="*/ 838 h 845"/>
              <a:gd name="T58" fmla="*/ 175 w 905"/>
              <a:gd name="T59" fmla="*/ 844 h 845"/>
              <a:gd name="T60" fmla="*/ 316 w 905"/>
              <a:gd name="T61" fmla="*/ 845 h 845"/>
              <a:gd name="T62" fmla="*/ 725 w 905"/>
              <a:gd name="T63" fmla="*/ 845 h 845"/>
              <a:gd name="T64" fmla="*/ 732 w 905"/>
              <a:gd name="T65" fmla="*/ 843 h 845"/>
              <a:gd name="T66" fmla="*/ 738 w 905"/>
              <a:gd name="T67" fmla="*/ 836 h 845"/>
              <a:gd name="T68" fmla="*/ 739 w 905"/>
              <a:gd name="T69" fmla="*/ 827 h 845"/>
              <a:gd name="T70" fmla="*/ 734 w 905"/>
              <a:gd name="T71" fmla="*/ 819 h 845"/>
              <a:gd name="T72" fmla="*/ 727 w 905"/>
              <a:gd name="T73" fmla="*/ 815 h 845"/>
              <a:gd name="T74" fmla="*/ 565 w 905"/>
              <a:gd name="T75" fmla="*/ 724 h 845"/>
              <a:gd name="T76" fmla="*/ 845 w 905"/>
              <a:gd name="T77" fmla="*/ 722 h 845"/>
              <a:gd name="T78" fmla="*/ 866 w 905"/>
              <a:gd name="T79" fmla="*/ 715 h 845"/>
              <a:gd name="T80" fmla="*/ 883 w 905"/>
              <a:gd name="T81" fmla="*/ 702 h 845"/>
              <a:gd name="T82" fmla="*/ 896 w 905"/>
              <a:gd name="T83" fmla="*/ 684 h 845"/>
              <a:gd name="T84" fmla="*/ 904 w 905"/>
              <a:gd name="T85" fmla="*/ 663 h 845"/>
              <a:gd name="T86" fmla="*/ 905 w 905"/>
              <a:gd name="T87" fmla="*/ 75 h 845"/>
              <a:gd name="T88" fmla="*/ 901 w 905"/>
              <a:gd name="T89" fmla="*/ 53 h 845"/>
              <a:gd name="T90" fmla="*/ 893 w 905"/>
              <a:gd name="T91" fmla="*/ 33 h 845"/>
              <a:gd name="T92" fmla="*/ 878 w 905"/>
              <a:gd name="T93" fmla="*/ 17 h 845"/>
              <a:gd name="T94" fmla="*/ 859 w 905"/>
              <a:gd name="T95" fmla="*/ 5 h 845"/>
              <a:gd name="T96" fmla="*/ 837 w 905"/>
              <a:gd name="T97" fmla="*/ 0 h 8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905" h="845">
                <a:moveTo>
                  <a:pt x="815" y="604"/>
                </a:moveTo>
                <a:lnTo>
                  <a:pt x="91" y="604"/>
                </a:lnTo>
                <a:lnTo>
                  <a:pt x="91" y="90"/>
                </a:lnTo>
                <a:lnTo>
                  <a:pt x="815" y="90"/>
                </a:lnTo>
                <a:lnTo>
                  <a:pt x="815" y="604"/>
                </a:lnTo>
                <a:close/>
                <a:moveTo>
                  <a:pt x="452" y="679"/>
                </a:moveTo>
                <a:lnTo>
                  <a:pt x="447" y="678"/>
                </a:lnTo>
                <a:lnTo>
                  <a:pt x="441" y="677"/>
                </a:lnTo>
                <a:lnTo>
                  <a:pt x="436" y="673"/>
                </a:lnTo>
                <a:lnTo>
                  <a:pt x="431" y="670"/>
                </a:lnTo>
                <a:lnTo>
                  <a:pt x="428" y="666"/>
                </a:lnTo>
                <a:lnTo>
                  <a:pt x="425" y="660"/>
                </a:lnTo>
                <a:lnTo>
                  <a:pt x="423" y="654"/>
                </a:lnTo>
                <a:lnTo>
                  <a:pt x="423" y="649"/>
                </a:lnTo>
                <a:lnTo>
                  <a:pt x="423" y="642"/>
                </a:lnTo>
                <a:lnTo>
                  <a:pt x="425" y="637"/>
                </a:lnTo>
                <a:lnTo>
                  <a:pt x="428" y="631"/>
                </a:lnTo>
                <a:lnTo>
                  <a:pt x="431" y="627"/>
                </a:lnTo>
                <a:lnTo>
                  <a:pt x="436" y="623"/>
                </a:lnTo>
                <a:lnTo>
                  <a:pt x="441" y="621"/>
                </a:lnTo>
                <a:lnTo>
                  <a:pt x="447" y="619"/>
                </a:lnTo>
                <a:lnTo>
                  <a:pt x="452" y="618"/>
                </a:lnTo>
                <a:lnTo>
                  <a:pt x="459" y="619"/>
                </a:lnTo>
                <a:lnTo>
                  <a:pt x="465" y="621"/>
                </a:lnTo>
                <a:lnTo>
                  <a:pt x="469" y="623"/>
                </a:lnTo>
                <a:lnTo>
                  <a:pt x="473" y="627"/>
                </a:lnTo>
                <a:lnTo>
                  <a:pt x="478" y="631"/>
                </a:lnTo>
                <a:lnTo>
                  <a:pt x="480" y="637"/>
                </a:lnTo>
                <a:lnTo>
                  <a:pt x="482" y="642"/>
                </a:lnTo>
                <a:lnTo>
                  <a:pt x="482" y="649"/>
                </a:lnTo>
                <a:lnTo>
                  <a:pt x="482" y="654"/>
                </a:lnTo>
                <a:lnTo>
                  <a:pt x="480" y="660"/>
                </a:lnTo>
                <a:lnTo>
                  <a:pt x="478" y="666"/>
                </a:lnTo>
                <a:lnTo>
                  <a:pt x="473" y="670"/>
                </a:lnTo>
                <a:lnTo>
                  <a:pt x="469" y="673"/>
                </a:lnTo>
                <a:lnTo>
                  <a:pt x="465" y="677"/>
                </a:lnTo>
                <a:lnTo>
                  <a:pt x="459" y="678"/>
                </a:lnTo>
                <a:lnTo>
                  <a:pt x="452" y="679"/>
                </a:lnTo>
                <a:close/>
                <a:moveTo>
                  <a:pt x="830" y="0"/>
                </a:moveTo>
                <a:lnTo>
                  <a:pt x="75" y="0"/>
                </a:lnTo>
                <a:lnTo>
                  <a:pt x="67" y="0"/>
                </a:lnTo>
                <a:lnTo>
                  <a:pt x="60" y="2"/>
                </a:lnTo>
                <a:lnTo>
                  <a:pt x="53" y="3"/>
                </a:lnTo>
                <a:lnTo>
                  <a:pt x="46" y="5"/>
                </a:lnTo>
                <a:lnTo>
                  <a:pt x="40" y="8"/>
                </a:lnTo>
                <a:lnTo>
                  <a:pt x="33" y="13"/>
                </a:lnTo>
                <a:lnTo>
                  <a:pt x="28" y="17"/>
                </a:lnTo>
                <a:lnTo>
                  <a:pt x="22" y="22"/>
                </a:lnTo>
                <a:lnTo>
                  <a:pt x="18" y="27"/>
                </a:lnTo>
                <a:lnTo>
                  <a:pt x="13" y="33"/>
                </a:lnTo>
                <a:lnTo>
                  <a:pt x="9" y="39"/>
                </a:lnTo>
                <a:lnTo>
                  <a:pt x="6" y="46"/>
                </a:lnTo>
                <a:lnTo>
                  <a:pt x="3" y="53"/>
                </a:lnTo>
                <a:lnTo>
                  <a:pt x="1" y="60"/>
                </a:lnTo>
                <a:lnTo>
                  <a:pt x="0" y="67"/>
                </a:lnTo>
                <a:lnTo>
                  <a:pt x="0" y="75"/>
                </a:lnTo>
                <a:lnTo>
                  <a:pt x="0" y="649"/>
                </a:lnTo>
                <a:lnTo>
                  <a:pt x="0" y="657"/>
                </a:lnTo>
                <a:lnTo>
                  <a:pt x="1" y="663"/>
                </a:lnTo>
                <a:lnTo>
                  <a:pt x="3" y="671"/>
                </a:lnTo>
                <a:lnTo>
                  <a:pt x="6" y="678"/>
                </a:lnTo>
                <a:lnTo>
                  <a:pt x="9" y="684"/>
                </a:lnTo>
                <a:lnTo>
                  <a:pt x="13" y="691"/>
                </a:lnTo>
                <a:lnTo>
                  <a:pt x="18" y="697"/>
                </a:lnTo>
                <a:lnTo>
                  <a:pt x="22" y="702"/>
                </a:lnTo>
                <a:lnTo>
                  <a:pt x="28" y="706"/>
                </a:lnTo>
                <a:lnTo>
                  <a:pt x="33" y="711"/>
                </a:lnTo>
                <a:lnTo>
                  <a:pt x="40" y="715"/>
                </a:lnTo>
                <a:lnTo>
                  <a:pt x="46" y="718"/>
                </a:lnTo>
                <a:lnTo>
                  <a:pt x="53" y="721"/>
                </a:lnTo>
                <a:lnTo>
                  <a:pt x="60" y="722"/>
                </a:lnTo>
                <a:lnTo>
                  <a:pt x="67" y="724"/>
                </a:lnTo>
                <a:lnTo>
                  <a:pt x="75" y="724"/>
                </a:lnTo>
                <a:lnTo>
                  <a:pt x="341" y="724"/>
                </a:lnTo>
                <a:lnTo>
                  <a:pt x="306" y="815"/>
                </a:lnTo>
                <a:lnTo>
                  <a:pt x="181" y="815"/>
                </a:lnTo>
                <a:lnTo>
                  <a:pt x="178" y="815"/>
                </a:lnTo>
                <a:lnTo>
                  <a:pt x="175" y="816"/>
                </a:lnTo>
                <a:lnTo>
                  <a:pt x="173" y="817"/>
                </a:lnTo>
                <a:lnTo>
                  <a:pt x="170" y="819"/>
                </a:lnTo>
                <a:lnTo>
                  <a:pt x="168" y="822"/>
                </a:lnTo>
                <a:lnTo>
                  <a:pt x="167" y="824"/>
                </a:lnTo>
                <a:lnTo>
                  <a:pt x="166" y="827"/>
                </a:lnTo>
                <a:lnTo>
                  <a:pt x="166" y="829"/>
                </a:lnTo>
                <a:lnTo>
                  <a:pt x="166" y="833"/>
                </a:lnTo>
                <a:lnTo>
                  <a:pt x="167" y="836"/>
                </a:lnTo>
                <a:lnTo>
                  <a:pt x="168" y="838"/>
                </a:lnTo>
                <a:lnTo>
                  <a:pt x="170" y="840"/>
                </a:lnTo>
                <a:lnTo>
                  <a:pt x="173" y="843"/>
                </a:lnTo>
                <a:lnTo>
                  <a:pt x="175" y="844"/>
                </a:lnTo>
                <a:lnTo>
                  <a:pt x="178" y="845"/>
                </a:lnTo>
                <a:lnTo>
                  <a:pt x="181" y="845"/>
                </a:lnTo>
                <a:lnTo>
                  <a:pt x="316" y="845"/>
                </a:lnTo>
                <a:lnTo>
                  <a:pt x="588" y="845"/>
                </a:lnTo>
                <a:lnTo>
                  <a:pt x="588" y="845"/>
                </a:lnTo>
                <a:lnTo>
                  <a:pt x="725" y="845"/>
                </a:lnTo>
                <a:lnTo>
                  <a:pt x="727" y="845"/>
                </a:lnTo>
                <a:lnTo>
                  <a:pt x="730" y="844"/>
                </a:lnTo>
                <a:lnTo>
                  <a:pt x="732" y="843"/>
                </a:lnTo>
                <a:lnTo>
                  <a:pt x="734" y="840"/>
                </a:lnTo>
                <a:lnTo>
                  <a:pt x="737" y="838"/>
                </a:lnTo>
                <a:lnTo>
                  <a:pt x="738" y="836"/>
                </a:lnTo>
                <a:lnTo>
                  <a:pt x="739" y="833"/>
                </a:lnTo>
                <a:lnTo>
                  <a:pt x="739" y="829"/>
                </a:lnTo>
                <a:lnTo>
                  <a:pt x="739" y="827"/>
                </a:lnTo>
                <a:lnTo>
                  <a:pt x="738" y="824"/>
                </a:lnTo>
                <a:lnTo>
                  <a:pt x="737" y="822"/>
                </a:lnTo>
                <a:lnTo>
                  <a:pt x="734" y="819"/>
                </a:lnTo>
                <a:lnTo>
                  <a:pt x="732" y="817"/>
                </a:lnTo>
                <a:lnTo>
                  <a:pt x="730" y="816"/>
                </a:lnTo>
                <a:lnTo>
                  <a:pt x="727" y="815"/>
                </a:lnTo>
                <a:lnTo>
                  <a:pt x="725" y="815"/>
                </a:lnTo>
                <a:lnTo>
                  <a:pt x="598" y="815"/>
                </a:lnTo>
                <a:lnTo>
                  <a:pt x="565" y="724"/>
                </a:lnTo>
                <a:lnTo>
                  <a:pt x="830" y="724"/>
                </a:lnTo>
                <a:lnTo>
                  <a:pt x="837" y="723"/>
                </a:lnTo>
                <a:lnTo>
                  <a:pt x="845" y="722"/>
                </a:lnTo>
                <a:lnTo>
                  <a:pt x="852" y="721"/>
                </a:lnTo>
                <a:lnTo>
                  <a:pt x="859" y="718"/>
                </a:lnTo>
                <a:lnTo>
                  <a:pt x="866" y="715"/>
                </a:lnTo>
                <a:lnTo>
                  <a:pt x="872" y="711"/>
                </a:lnTo>
                <a:lnTo>
                  <a:pt x="878" y="706"/>
                </a:lnTo>
                <a:lnTo>
                  <a:pt x="883" y="702"/>
                </a:lnTo>
                <a:lnTo>
                  <a:pt x="888" y="697"/>
                </a:lnTo>
                <a:lnTo>
                  <a:pt x="893" y="691"/>
                </a:lnTo>
                <a:lnTo>
                  <a:pt x="896" y="684"/>
                </a:lnTo>
                <a:lnTo>
                  <a:pt x="899" y="678"/>
                </a:lnTo>
                <a:lnTo>
                  <a:pt x="901" y="671"/>
                </a:lnTo>
                <a:lnTo>
                  <a:pt x="904" y="663"/>
                </a:lnTo>
                <a:lnTo>
                  <a:pt x="905" y="657"/>
                </a:lnTo>
                <a:lnTo>
                  <a:pt x="905" y="649"/>
                </a:lnTo>
                <a:lnTo>
                  <a:pt x="905" y="75"/>
                </a:lnTo>
                <a:lnTo>
                  <a:pt x="905" y="67"/>
                </a:lnTo>
                <a:lnTo>
                  <a:pt x="904" y="60"/>
                </a:lnTo>
                <a:lnTo>
                  <a:pt x="901" y="53"/>
                </a:lnTo>
                <a:lnTo>
                  <a:pt x="899" y="46"/>
                </a:lnTo>
                <a:lnTo>
                  <a:pt x="896" y="39"/>
                </a:lnTo>
                <a:lnTo>
                  <a:pt x="893" y="33"/>
                </a:lnTo>
                <a:lnTo>
                  <a:pt x="888" y="27"/>
                </a:lnTo>
                <a:lnTo>
                  <a:pt x="883" y="22"/>
                </a:lnTo>
                <a:lnTo>
                  <a:pt x="878" y="17"/>
                </a:lnTo>
                <a:lnTo>
                  <a:pt x="872" y="13"/>
                </a:lnTo>
                <a:lnTo>
                  <a:pt x="866" y="8"/>
                </a:lnTo>
                <a:lnTo>
                  <a:pt x="859" y="5"/>
                </a:lnTo>
                <a:lnTo>
                  <a:pt x="852" y="3"/>
                </a:lnTo>
                <a:lnTo>
                  <a:pt x="845" y="2"/>
                </a:lnTo>
                <a:lnTo>
                  <a:pt x="837" y="0"/>
                </a:lnTo>
                <a:lnTo>
                  <a:pt x="830" y="0"/>
                </a:lnTo>
                <a:close/>
              </a:path>
            </a:pathLst>
          </a:custGeom>
          <a:solidFill>
            <a:srgbClr val="B0F7F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Text Placeholder 2"/>
          <p:cNvSpPr txBox="1">
            <a:spLocks/>
          </p:cNvSpPr>
          <p:nvPr/>
        </p:nvSpPr>
        <p:spPr>
          <a:xfrm>
            <a:off x="1495634" y="2009780"/>
            <a:ext cx="4308926" cy="6314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plikasi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Reading Novel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lengkapi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engan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eberapa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itur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perti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nambahkan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e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avorit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ngganti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ata profile dan mode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mbaca</a:t>
            </a:r>
            <a:endParaRPr lang="en-US" dirty="0">
              <a:solidFill>
                <a:srgbClr val="B0F7F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F4C46B7-93A8-6E17-A850-30B9FC58FE9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352" t="2988" r="61780" b="17270"/>
          <a:stretch/>
        </p:blipFill>
        <p:spPr>
          <a:xfrm>
            <a:off x="6625628" y="353236"/>
            <a:ext cx="2191200" cy="379954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407D536-D29F-E353-3152-39C87049058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352" t="-916" r="61780" b="16523"/>
          <a:stretch/>
        </p:blipFill>
        <p:spPr>
          <a:xfrm>
            <a:off x="9115757" y="258183"/>
            <a:ext cx="2145421" cy="3937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6122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4" name="Freeform 13">
            <a:extLst>
              <a:ext uri="{FF2B5EF4-FFF2-40B4-BE49-F238E27FC236}">
                <a16:creationId xmlns:a16="http://schemas.microsoft.com/office/drawing/2014/main" id="{0104CAE6-1265-C366-832D-B5859341A77D}"/>
              </a:ext>
            </a:extLst>
          </p:cNvPr>
          <p:cNvSpPr>
            <a:spLocks/>
          </p:cNvSpPr>
          <p:nvPr/>
        </p:nvSpPr>
        <p:spPr bwMode="auto">
          <a:xfrm>
            <a:off x="8030367" y="2403881"/>
            <a:ext cx="1606550" cy="1609725"/>
          </a:xfrm>
          <a:custGeom>
            <a:avLst/>
            <a:gdLst>
              <a:gd name="T0" fmla="*/ 1012 w 1012"/>
              <a:gd name="T1" fmla="*/ 507 h 1014"/>
              <a:gd name="T2" fmla="*/ 506 w 1012"/>
              <a:gd name="T3" fmla="*/ 1014 h 1014"/>
              <a:gd name="T4" fmla="*/ 0 w 1012"/>
              <a:gd name="T5" fmla="*/ 507 h 1014"/>
              <a:gd name="T6" fmla="*/ 506 w 1012"/>
              <a:gd name="T7" fmla="*/ 0 h 1014"/>
              <a:gd name="T8" fmla="*/ 1012 w 1012"/>
              <a:gd name="T9" fmla="*/ 507 h 10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2" h="1014">
                <a:moveTo>
                  <a:pt x="1012" y="507"/>
                </a:moveTo>
                <a:lnTo>
                  <a:pt x="506" y="1014"/>
                </a:lnTo>
                <a:lnTo>
                  <a:pt x="0" y="507"/>
                </a:lnTo>
                <a:lnTo>
                  <a:pt x="506" y="0"/>
                </a:lnTo>
                <a:lnTo>
                  <a:pt x="1012" y="507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2" name="Rectangle 5"/>
          <p:cNvSpPr>
            <a:spLocks noChangeArrowheads="1"/>
          </p:cNvSpPr>
          <p:nvPr/>
        </p:nvSpPr>
        <p:spPr bwMode="auto">
          <a:xfrm>
            <a:off x="0" y="0"/>
            <a:ext cx="12192000" cy="2210338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1" name="Rectangle 48"/>
          <p:cNvSpPr>
            <a:spLocks noChangeArrowheads="1"/>
          </p:cNvSpPr>
          <p:nvPr/>
        </p:nvSpPr>
        <p:spPr bwMode="auto">
          <a:xfrm>
            <a:off x="3110" y="1563362"/>
            <a:ext cx="12188890" cy="5294638"/>
          </a:xfrm>
          <a:prstGeom prst="rect">
            <a:avLst/>
          </a:prstGeom>
          <a:gradFill flip="none" rotWithShape="1">
            <a:gsLst>
              <a:gs pos="100000">
                <a:srgbClr val="070C1E"/>
              </a:gs>
              <a:gs pos="0">
                <a:srgbClr val="122141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15" name="Group 114"/>
          <p:cNvGrpSpPr/>
          <p:nvPr/>
        </p:nvGrpSpPr>
        <p:grpSpPr>
          <a:xfrm flipV="1">
            <a:off x="3356769" y="4038416"/>
            <a:ext cx="7300913" cy="189920"/>
            <a:chOff x="1535112" y="4005286"/>
            <a:chExt cx="7300913" cy="189920"/>
          </a:xfrm>
        </p:grpSpPr>
        <p:cxnSp>
          <p:nvCxnSpPr>
            <p:cNvPr id="116" name="Straight Connector 115"/>
            <p:cNvCxnSpPr/>
            <p:nvPr/>
          </p:nvCxnSpPr>
          <p:spPr>
            <a:xfrm>
              <a:off x="1535112" y="4005286"/>
              <a:ext cx="0" cy="189920"/>
            </a:xfrm>
            <a:prstGeom prst="line">
              <a:avLst/>
            </a:prstGeom>
            <a:ln>
              <a:solidFill>
                <a:srgbClr val="F6443B"/>
              </a:solidFill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/>
            <p:cNvCxnSpPr/>
            <p:nvPr/>
          </p:nvCxnSpPr>
          <p:spPr>
            <a:xfrm>
              <a:off x="5186363" y="4005286"/>
              <a:ext cx="0" cy="189920"/>
            </a:xfrm>
            <a:prstGeom prst="line">
              <a:avLst/>
            </a:prstGeom>
            <a:ln>
              <a:solidFill>
                <a:srgbClr val="F6443B"/>
              </a:solidFill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/>
            <p:cNvCxnSpPr/>
            <p:nvPr/>
          </p:nvCxnSpPr>
          <p:spPr>
            <a:xfrm>
              <a:off x="8836025" y="4005286"/>
              <a:ext cx="0" cy="189920"/>
            </a:xfrm>
            <a:prstGeom prst="line">
              <a:avLst/>
            </a:prstGeom>
            <a:ln>
              <a:solidFill>
                <a:srgbClr val="F6443B"/>
              </a:solidFill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Freeform 7"/>
          <p:cNvSpPr>
            <a:spLocks/>
          </p:cNvSpPr>
          <p:nvPr/>
        </p:nvSpPr>
        <p:spPr bwMode="auto">
          <a:xfrm>
            <a:off x="10781752" y="73439"/>
            <a:ext cx="2995886" cy="1489199"/>
          </a:xfrm>
          <a:custGeom>
            <a:avLst/>
            <a:gdLst>
              <a:gd name="T0" fmla="*/ 0 w 2227"/>
              <a:gd name="T1" fmla="*/ 1107 h 1107"/>
              <a:gd name="T2" fmla="*/ 2227 w 2227"/>
              <a:gd name="T3" fmla="*/ 1107 h 1107"/>
              <a:gd name="T4" fmla="*/ 1121 w 2227"/>
              <a:gd name="T5" fmla="*/ 0 h 1107"/>
              <a:gd name="T6" fmla="*/ 0 w 2227"/>
              <a:gd name="T7" fmla="*/ 1107 h 1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27" h="1107">
                <a:moveTo>
                  <a:pt x="0" y="1107"/>
                </a:moveTo>
                <a:lnTo>
                  <a:pt x="2227" y="1107"/>
                </a:lnTo>
                <a:lnTo>
                  <a:pt x="1121" y="0"/>
                </a:lnTo>
                <a:lnTo>
                  <a:pt x="0" y="1107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Freeform 8"/>
          <p:cNvSpPr>
            <a:spLocks/>
          </p:cNvSpPr>
          <p:nvPr/>
        </p:nvSpPr>
        <p:spPr bwMode="auto">
          <a:xfrm>
            <a:off x="8212883" y="980142"/>
            <a:ext cx="1173064" cy="582496"/>
          </a:xfrm>
          <a:custGeom>
            <a:avLst/>
            <a:gdLst>
              <a:gd name="T0" fmla="*/ 0 w 872"/>
              <a:gd name="T1" fmla="*/ 433 h 433"/>
              <a:gd name="T2" fmla="*/ 872 w 872"/>
              <a:gd name="T3" fmla="*/ 433 h 433"/>
              <a:gd name="T4" fmla="*/ 440 w 872"/>
              <a:gd name="T5" fmla="*/ 0 h 433"/>
              <a:gd name="T6" fmla="*/ 0 w 872"/>
              <a:gd name="T7" fmla="*/ 433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2" h="433">
                <a:moveTo>
                  <a:pt x="0" y="433"/>
                </a:moveTo>
                <a:lnTo>
                  <a:pt x="872" y="433"/>
                </a:lnTo>
                <a:lnTo>
                  <a:pt x="440" y="0"/>
                </a:lnTo>
                <a:lnTo>
                  <a:pt x="0" y="433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Freeform 19"/>
          <p:cNvSpPr>
            <a:spLocks/>
          </p:cNvSpPr>
          <p:nvPr/>
        </p:nvSpPr>
        <p:spPr bwMode="auto">
          <a:xfrm>
            <a:off x="9427288" y="709745"/>
            <a:ext cx="1717892" cy="852893"/>
          </a:xfrm>
          <a:custGeom>
            <a:avLst/>
            <a:gdLst>
              <a:gd name="T0" fmla="*/ 0 w 1277"/>
              <a:gd name="T1" fmla="*/ 634 h 634"/>
              <a:gd name="T2" fmla="*/ 1277 w 1277"/>
              <a:gd name="T3" fmla="*/ 634 h 634"/>
              <a:gd name="T4" fmla="*/ 641 w 1277"/>
              <a:gd name="T5" fmla="*/ 0 h 634"/>
              <a:gd name="T6" fmla="*/ 0 w 1277"/>
              <a:gd name="T7" fmla="*/ 634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77" h="634">
                <a:moveTo>
                  <a:pt x="0" y="634"/>
                </a:moveTo>
                <a:lnTo>
                  <a:pt x="1277" y="634"/>
                </a:lnTo>
                <a:lnTo>
                  <a:pt x="641" y="0"/>
                </a:lnTo>
                <a:lnTo>
                  <a:pt x="0" y="634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Freeform 13"/>
          <p:cNvSpPr>
            <a:spLocks/>
          </p:cNvSpPr>
          <p:nvPr/>
        </p:nvSpPr>
        <p:spPr bwMode="auto">
          <a:xfrm>
            <a:off x="11273234" y="1229014"/>
            <a:ext cx="671283" cy="333624"/>
          </a:xfrm>
          <a:custGeom>
            <a:avLst/>
            <a:gdLst>
              <a:gd name="T0" fmla="*/ 0 w 499"/>
              <a:gd name="T1" fmla="*/ 248 h 248"/>
              <a:gd name="T2" fmla="*/ 499 w 499"/>
              <a:gd name="T3" fmla="*/ 248 h 248"/>
              <a:gd name="T4" fmla="*/ 250 w 499"/>
              <a:gd name="T5" fmla="*/ 0 h 248"/>
              <a:gd name="T6" fmla="*/ 0 w 499"/>
              <a:gd name="T7" fmla="*/ 248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9" h="248">
                <a:moveTo>
                  <a:pt x="0" y="248"/>
                </a:moveTo>
                <a:lnTo>
                  <a:pt x="499" y="248"/>
                </a:lnTo>
                <a:lnTo>
                  <a:pt x="250" y="0"/>
                </a:lnTo>
                <a:lnTo>
                  <a:pt x="0" y="248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Freeform 14"/>
          <p:cNvSpPr>
            <a:spLocks/>
          </p:cNvSpPr>
          <p:nvPr/>
        </p:nvSpPr>
        <p:spPr bwMode="auto">
          <a:xfrm>
            <a:off x="9171688" y="1308385"/>
            <a:ext cx="511197" cy="254253"/>
          </a:xfrm>
          <a:custGeom>
            <a:avLst/>
            <a:gdLst>
              <a:gd name="T0" fmla="*/ 0 w 380"/>
              <a:gd name="T1" fmla="*/ 189 h 189"/>
              <a:gd name="T2" fmla="*/ 380 w 380"/>
              <a:gd name="T3" fmla="*/ 189 h 189"/>
              <a:gd name="T4" fmla="*/ 191 w 380"/>
              <a:gd name="T5" fmla="*/ 0 h 189"/>
              <a:gd name="T6" fmla="*/ 0 w 380"/>
              <a:gd name="T7" fmla="*/ 189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0" h="189">
                <a:moveTo>
                  <a:pt x="0" y="189"/>
                </a:moveTo>
                <a:lnTo>
                  <a:pt x="380" y="189"/>
                </a:lnTo>
                <a:lnTo>
                  <a:pt x="191" y="0"/>
                </a:lnTo>
                <a:lnTo>
                  <a:pt x="0" y="189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Freeform 15"/>
          <p:cNvSpPr>
            <a:spLocks/>
          </p:cNvSpPr>
          <p:nvPr/>
        </p:nvSpPr>
        <p:spPr bwMode="auto">
          <a:xfrm>
            <a:off x="8983352" y="1397171"/>
            <a:ext cx="333624" cy="165467"/>
          </a:xfrm>
          <a:custGeom>
            <a:avLst/>
            <a:gdLst>
              <a:gd name="T0" fmla="*/ 0 w 248"/>
              <a:gd name="T1" fmla="*/ 123 h 123"/>
              <a:gd name="T2" fmla="*/ 248 w 248"/>
              <a:gd name="T3" fmla="*/ 123 h 123"/>
              <a:gd name="T4" fmla="*/ 125 w 248"/>
              <a:gd name="T5" fmla="*/ 0 h 123"/>
              <a:gd name="T6" fmla="*/ 0 w 248"/>
              <a:gd name="T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8" h="123">
                <a:moveTo>
                  <a:pt x="0" y="123"/>
                </a:moveTo>
                <a:lnTo>
                  <a:pt x="248" y="123"/>
                </a:lnTo>
                <a:lnTo>
                  <a:pt x="125" y="0"/>
                </a:lnTo>
                <a:lnTo>
                  <a:pt x="0" y="123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Freeform 8"/>
          <p:cNvSpPr>
            <a:spLocks/>
          </p:cNvSpPr>
          <p:nvPr/>
        </p:nvSpPr>
        <p:spPr bwMode="auto">
          <a:xfrm>
            <a:off x="-28325" y="980142"/>
            <a:ext cx="1173064" cy="582496"/>
          </a:xfrm>
          <a:custGeom>
            <a:avLst/>
            <a:gdLst>
              <a:gd name="T0" fmla="*/ 0 w 872"/>
              <a:gd name="T1" fmla="*/ 433 h 433"/>
              <a:gd name="T2" fmla="*/ 872 w 872"/>
              <a:gd name="T3" fmla="*/ 433 h 433"/>
              <a:gd name="T4" fmla="*/ 440 w 872"/>
              <a:gd name="T5" fmla="*/ 0 h 433"/>
              <a:gd name="T6" fmla="*/ 0 w 872"/>
              <a:gd name="T7" fmla="*/ 433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2" h="433">
                <a:moveTo>
                  <a:pt x="0" y="433"/>
                </a:moveTo>
                <a:lnTo>
                  <a:pt x="872" y="433"/>
                </a:lnTo>
                <a:lnTo>
                  <a:pt x="440" y="0"/>
                </a:lnTo>
                <a:lnTo>
                  <a:pt x="0" y="433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Freeform 19"/>
          <p:cNvSpPr>
            <a:spLocks/>
          </p:cNvSpPr>
          <p:nvPr/>
        </p:nvSpPr>
        <p:spPr bwMode="auto">
          <a:xfrm>
            <a:off x="-992576" y="709745"/>
            <a:ext cx="1717892" cy="852893"/>
          </a:xfrm>
          <a:custGeom>
            <a:avLst/>
            <a:gdLst>
              <a:gd name="T0" fmla="*/ 0 w 1277"/>
              <a:gd name="T1" fmla="*/ 634 h 634"/>
              <a:gd name="T2" fmla="*/ 1277 w 1277"/>
              <a:gd name="T3" fmla="*/ 634 h 634"/>
              <a:gd name="T4" fmla="*/ 641 w 1277"/>
              <a:gd name="T5" fmla="*/ 0 h 634"/>
              <a:gd name="T6" fmla="*/ 0 w 1277"/>
              <a:gd name="T7" fmla="*/ 634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77" h="634">
                <a:moveTo>
                  <a:pt x="0" y="634"/>
                </a:moveTo>
                <a:lnTo>
                  <a:pt x="1277" y="634"/>
                </a:lnTo>
                <a:lnTo>
                  <a:pt x="641" y="0"/>
                </a:lnTo>
                <a:lnTo>
                  <a:pt x="0" y="634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Freeform 13"/>
          <p:cNvSpPr>
            <a:spLocks/>
          </p:cNvSpPr>
          <p:nvPr/>
        </p:nvSpPr>
        <p:spPr bwMode="auto">
          <a:xfrm>
            <a:off x="853370" y="1229014"/>
            <a:ext cx="671283" cy="333624"/>
          </a:xfrm>
          <a:custGeom>
            <a:avLst/>
            <a:gdLst>
              <a:gd name="T0" fmla="*/ 0 w 499"/>
              <a:gd name="T1" fmla="*/ 248 h 248"/>
              <a:gd name="T2" fmla="*/ 499 w 499"/>
              <a:gd name="T3" fmla="*/ 248 h 248"/>
              <a:gd name="T4" fmla="*/ 250 w 499"/>
              <a:gd name="T5" fmla="*/ 0 h 248"/>
              <a:gd name="T6" fmla="*/ 0 w 499"/>
              <a:gd name="T7" fmla="*/ 248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9" h="248">
                <a:moveTo>
                  <a:pt x="0" y="248"/>
                </a:moveTo>
                <a:lnTo>
                  <a:pt x="499" y="248"/>
                </a:lnTo>
                <a:lnTo>
                  <a:pt x="250" y="0"/>
                </a:lnTo>
                <a:lnTo>
                  <a:pt x="0" y="248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Freeform 51"/>
          <p:cNvSpPr>
            <a:spLocks/>
          </p:cNvSpPr>
          <p:nvPr/>
        </p:nvSpPr>
        <p:spPr bwMode="auto">
          <a:xfrm>
            <a:off x="-663933" y="1563000"/>
            <a:ext cx="1304130" cy="647700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Freeform 51"/>
          <p:cNvSpPr>
            <a:spLocks/>
          </p:cNvSpPr>
          <p:nvPr/>
        </p:nvSpPr>
        <p:spPr bwMode="auto">
          <a:xfrm>
            <a:off x="9763778" y="1563000"/>
            <a:ext cx="1304130" cy="647700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Freeform 51"/>
          <p:cNvSpPr>
            <a:spLocks/>
          </p:cNvSpPr>
          <p:nvPr/>
        </p:nvSpPr>
        <p:spPr bwMode="auto">
          <a:xfrm>
            <a:off x="8616906" y="1563000"/>
            <a:ext cx="700070" cy="347692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Freeform 51"/>
          <p:cNvSpPr>
            <a:spLocks/>
          </p:cNvSpPr>
          <p:nvPr/>
        </p:nvSpPr>
        <p:spPr bwMode="auto">
          <a:xfrm>
            <a:off x="10959405" y="1562999"/>
            <a:ext cx="3630126" cy="1802913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" name="Freeform 51"/>
          <p:cNvSpPr>
            <a:spLocks/>
          </p:cNvSpPr>
          <p:nvPr/>
        </p:nvSpPr>
        <p:spPr bwMode="auto">
          <a:xfrm>
            <a:off x="11360415" y="1563000"/>
            <a:ext cx="536540" cy="266474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7" name="Group 36"/>
          <p:cNvGrpSpPr/>
          <p:nvPr/>
        </p:nvGrpSpPr>
        <p:grpSpPr>
          <a:xfrm>
            <a:off x="3273823" y="219072"/>
            <a:ext cx="8462323" cy="1151539"/>
            <a:chOff x="3273823" y="-1579979"/>
            <a:chExt cx="8462323" cy="1151539"/>
          </a:xfrm>
        </p:grpSpPr>
        <p:sp>
          <p:nvSpPr>
            <p:cNvPr id="38" name="Oval 58"/>
            <p:cNvSpPr>
              <a:spLocks noChangeArrowheads="1"/>
            </p:cNvSpPr>
            <p:nvPr/>
          </p:nvSpPr>
          <p:spPr bwMode="auto">
            <a:xfrm>
              <a:off x="5450338" y="-502429"/>
              <a:ext cx="72644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Oval 59"/>
            <p:cNvSpPr>
              <a:spLocks noChangeArrowheads="1"/>
            </p:cNvSpPr>
            <p:nvPr/>
          </p:nvSpPr>
          <p:spPr bwMode="auto">
            <a:xfrm>
              <a:off x="8782823" y="-1505282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Oval 60"/>
            <p:cNvSpPr>
              <a:spLocks noChangeArrowheads="1"/>
            </p:cNvSpPr>
            <p:nvPr/>
          </p:nvSpPr>
          <p:spPr bwMode="auto">
            <a:xfrm>
              <a:off x="6211676" y="-557584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Oval 61"/>
            <p:cNvSpPr>
              <a:spLocks noChangeArrowheads="1"/>
            </p:cNvSpPr>
            <p:nvPr/>
          </p:nvSpPr>
          <p:spPr bwMode="auto">
            <a:xfrm>
              <a:off x="3744983" y="-928464"/>
              <a:ext cx="72644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Oval 62"/>
            <p:cNvSpPr>
              <a:spLocks noChangeArrowheads="1"/>
            </p:cNvSpPr>
            <p:nvPr/>
          </p:nvSpPr>
          <p:spPr bwMode="auto">
            <a:xfrm>
              <a:off x="4880380" y="-896589"/>
              <a:ext cx="7533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63"/>
            <p:cNvSpPr>
              <a:spLocks noChangeArrowheads="1"/>
            </p:cNvSpPr>
            <p:nvPr/>
          </p:nvSpPr>
          <p:spPr bwMode="auto">
            <a:xfrm>
              <a:off x="6848490" y="-1103758"/>
              <a:ext cx="76680" cy="73989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Oval 64"/>
            <p:cNvSpPr>
              <a:spLocks noChangeArrowheads="1"/>
            </p:cNvSpPr>
            <p:nvPr/>
          </p:nvSpPr>
          <p:spPr bwMode="auto">
            <a:xfrm>
              <a:off x="6277220" y="-1088287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Oval 65"/>
            <p:cNvSpPr>
              <a:spLocks noChangeArrowheads="1"/>
            </p:cNvSpPr>
            <p:nvPr/>
          </p:nvSpPr>
          <p:spPr bwMode="auto">
            <a:xfrm>
              <a:off x="8325596" y="-618564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Oval 66"/>
            <p:cNvSpPr>
              <a:spLocks noChangeArrowheads="1"/>
            </p:cNvSpPr>
            <p:nvPr/>
          </p:nvSpPr>
          <p:spPr bwMode="auto">
            <a:xfrm>
              <a:off x="4670520" y="-1297391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Oval 67"/>
            <p:cNvSpPr>
              <a:spLocks noChangeArrowheads="1"/>
            </p:cNvSpPr>
            <p:nvPr/>
          </p:nvSpPr>
          <p:spPr bwMode="auto">
            <a:xfrm>
              <a:off x="4361279" y="-563432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Oval 68"/>
            <p:cNvSpPr>
              <a:spLocks noChangeArrowheads="1"/>
            </p:cNvSpPr>
            <p:nvPr/>
          </p:nvSpPr>
          <p:spPr bwMode="auto">
            <a:xfrm>
              <a:off x="9297913" y="-856961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Oval 69"/>
            <p:cNvSpPr>
              <a:spLocks noChangeArrowheads="1"/>
            </p:cNvSpPr>
            <p:nvPr/>
          </p:nvSpPr>
          <p:spPr bwMode="auto">
            <a:xfrm>
              <a:off x="11127922" y="-1001845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Oval 70"/>
            <p:cNvSpPr>
              <a:spLocks noChangeArrowheads="1"/>
            </p:cNvSpPr>
            <p:nvPr/>
          </p:nvSpPr>
          <p:spPr bwMode="auto">
            <a:xfrm>
              <a:off x="10705680" y="-1528630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Oval 71"/>
            <p:cNvSpPr>
              <a:spLocks noChangeArrowheads="1"/>
            </p:cNvSpPr>
            <p:nvPr/>
          </p:nvSpPr>
          <p:spPr bwMode="auto">
            <a:xfrm>
              <a:off x="7440402" y="-686729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Oval 72"/>
            <p:cNvSpPr>
              <a:spLocks noChangeArrowheads="1"/>
            </p:cNvSpPr>
            <p:nvPr/>
          </p:nvSpPr>
          <p:spPr bwMode="auto">
            <a:xfrm>
              <a:off x="7380314" y="-1098865"/>
              <a:ext cx="76680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Oval 73"/>
            <p:cNvSpPr>
              <a:spLocks noChangeArrowheads="1"/>
            </p:cNvSpPr>
            <p:nvPr/>
          </p:nvSpPr>
          <p:spPr bwMode="auto">
            <a:xfrm>
              <a:off x="3273823" y="-1299228"/>
              <a:ext cx="7264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Oval 74"/>
            <p:cNvSpPr>
              <a:spLocks noChangeArrowheads="1"/>
            </p:cNvSpPr>
            <p:nvPr/>
          </p:nvSpPr>
          <p:spPr bwMode="auto">
            <a:xfrm>
              <a:off x="5818023" y="-1579979"/>
              <a:ext cx="7264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Oval 75"/>
            <p:cNvSpPr>
              <a:spLocks noChangeArrowheads="1"/>
            </p:cNvSpPr>
            <p:nvPr/>
          </p:nvSpPr>
          <p:spPr bwMode="auto">
            <a:xfrm>
              <a:off x="6956110" y="-896589"/>
              <a:ext cx="76680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Oval 76"/>
            <p:cNvSpPr>
              <a:spLocks noChangeArrowheads="1"/>
            </p:cNvSpPr>
            <p:nvPr/>
          </p:nvSpPr>
          <p:spPr bwMode="auto">
            <a:xfrm>
              <a:off x="11662157" y="-1286484"/>
              <a:ext cx="73989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Oval 77"/>
            <p:cNvSpPr>
              <a:spLocks noChangeArrowheads="1"/>
            </p:cNvSpPr>
            <p:nvPr/>
          </p:nvSpPr>
          <p:spPr bwMode="auto">
            <a:xfrm>
              <a:off x="9845429" y="-899050"/>
              <a:ext cx="7533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Oval 78"/>
            <p:cNvSpPr>
              <a:spLocks noChangeArrowheads="1"/>
            </p:cNvSpPr>
            <p:nvPr/>
          </p:nvSpPr>
          <p:spPr bwMode="auto">
            <a:xfrm>
              <a:off x="10735070" y="-823945"/>
              <a:ext cx="76680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Oval 79"/>
            <p:cNvSpPr>
              <a:spLocks noChangeArrowheads="1"/>
            </p:cNvSpPr>
            <p:nvPr/>
          </p:nvSpPr>
          <p:spPr bwMode="auto">
            <a:xfrm>
              <a:off x="8007945" y="-1393167"/>
              <a:ext cx="73989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0" name="TextBox 59"/>
          <p:cNvSpPr txBox="1"/>
          <p:nvPr/>
        </p:nvSpPr>
        <p:spPr>
          <a:xfrm>
            <a:off x="826809" y="589490"/>
            <a:ext cx="5079789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4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Tools yang digunakan</a:t>
            </a:r>
            <a:endParaRPr lang="en-US" sz="40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" name="Freeform 5"/>
          <p:cNvSpPr>
            <a:spLocks/>
          </p:cNvSpPr>
          <p:nvPr/>
        </p:nvSpPr>
        <p:spPr bwMode="auto">
          <a:xfrm>
            <a:off x="1690688" y="3356792"/>
            <a:ext cx="1339850" cy="1346200"/>
          </a:xfrm>
          <a:custGeom>
            <a:avLst/>
            <a:gdLst>
              <a:gd name="T0" fmla="*/ 499 w 844"/>
              <a:gd name="T1" fmla="*/ 424 h 848"/>
              <a:gd name="T2" fmla="*/ 388 w 844"/>
              <a:gd name="T3" fmla="*/ 0 h 848"/>
              <a:gd name="T4" fmla="*/ 194 w 844"/>
              <a:gd name="T5" fmla="*/ 195 h 848"/>
              <a:gd name="T6" fmla="*/ 0 w 844"/>
              <a:gd name="T7" fmla="*/ 389 h 848"/>
              <a:gd name="T8" fmla="*/ 423 w 844"/>
              <a:gd name="T9" fmla="*/ 500 h 848"/>
              <a:gd name="T10" fmla="*/ 610 w 844"/>
              <a:gd name="T11" fmla="*/ 848 h 848"/>
              <a:gd name="T12" fmla="*/ 728 w 844"/>
              <a:gd name="T13" fmla="*/ 730 h 848"/>
              <a:gd name="T14" fmla="*/ 844 w 844"/>
              <a:gd name="T15" fmla="*/ 612 h 848"/>
              <a:gd name="T16" fmla="*/ 499 w 844"/>
              <a:gd name="T17" fmla="*/ 424 h 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44" h="848">
                <a:moveTo>
                  <a:pt x="499" y="424"/>
                </a:moveTo>
                <a:lnTo>
                  <a:pt x="388" y="0"/>
                </a:lnTo>
                <a:lnTo>
                  <a:pt x="194" y="195"/>
                </a:lnTo>
                <a:lnTo>
                  <a:pt x="0" y="389"/>
                </a:lnTo>
                <a:lnTo>
                  <a:pt x="423" y="500"/>
                </a:lnTo>
                <a:lnTo>
                  <a:pt x="610" y="848"/>
                </a:lnTo>
                <a:lnTo>
                  <a:pt x="728" y="730"/>
                </a:lnTo>
                <a:lnTo>
                  <a:pt x="844" y="612"/>
                </a:lnTo>
                <a:lnTo>
                  <a:pt x="499" y="424"/>
                </a:lnTo>
                <a:close/>
              </a:path>
            </a:pathLst>
          </a:custGeom>
          <a:gradFill flip="none" rotWithShape="1">
            <a:gsLst>
              <a:gs pos="4000">
                <a:srgbClr val="4E2230"/>
              </a:gs>
              <a:gs pos="100000">
                <a:srgbClr val="4E2230"/>
              </a:gs>
              <a:gs pos="46000">
                <a:srgbClr val="F6443B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Oval 6"/>
          <p:cNvSpPr>
            <a:spLocks noChangeArrowheads="1"/>
          </p:cNvSpPr>
          <p:nvPr/>
        </p:nvSpPr>
        <p:spPr bwMode="auto">
          <a:xfrm>
            <a:off x="730250" y="2397942"/>
            <a:ext cx="1609725" cy="1609725"/>
          </a:xfrm>
          <a:prstGeom prst="ellipse">
            <a:avLst/>
          </a:prstGeom>
          <a:gradFill flip="none" rotWithShape="1">
            <a:gsLst>
              <a:gs pos="100000">
                <a:srgbClr val="4186A2"/>
              </a:gs>
              <a:gs pos="0">
                <a:srgbClr val="B0F7F4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7"/>
          <p:cNvSpPr>
            <a:spLocks/>
          </p:cNvSpPr>
          <p:nvPr/>
        </p:nvSpPr>
        <p:spPr bwMode="auto">
          <a:xfrm>
            <a:off x="730250" y="2397942"/>
            <a:ext cx="1609725" cy="1609725"/>
          </a:xfrm>
          <a:custGeom>
            <a:avLst/>
            <a:gdLst>
              <a:gd name="T0" fmla="*/ 1014 w 1014"/>
              <a:gd name="T1" fmla="*/ 507 h 1014"/>
              <a:gd name="T2" fmla="*/ 508 w 1014"/>
              <a:gd name="T3" fmla="*/ 1014 h 1014"/>
              <a:gd name="T4" fmla="*/ 0 w 1014"/>
              <a:gd name="T5" fmla="*/ 507 h 1014"/>
              <a:gd name="T6" fmla="*/ 508 w 1014"/>
              <a:gd name="T7" fmla="*/ 0 h 1014"/>
              <a:gd name="T8" fmla="*/ 1014 w 1014"/>
              <a:gd name="T9" fmla="*/ 507 h 10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4" h="1014">
                <a:moveTo>
                  <a:pt x="1014" y="507"/>
                </a:moveTo>
                <a:lnTo>
                  <a:pt x="508" y="1014"/>
                </a:lnTo>
                <a:lnTo>
                  <a:pt x="0" y="507"/>
                </a:lnTo>
                <a:lnTo>
                  <a:pt x="508" y="0"/>
                </a:lnTo>
                <a:lnTo>
                  <a:pt x="1014" y="507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0" name="Freeform 10"/>
          <p:cNvSpPr>
            <a:spLocks/>
          </p:cNvSpPr>
          <p:nvPr/>
        </p:nvSpPr>
        <p:spPr bwMode="auto">
          <a:xfrm>
            <a:off x="3687763" y="3356792"/>
            <a:ext cx="1344613" cy="1346200"/>
          </a:xfrm>
          <a:custGeom>
            <a:avLst/>
            <a:gdLst>
              <a:gd name="T0" fmla="*/ 348 w 847"/>
              <a:gd name="T1" fmla="*/ 424 h 848"/>
              <a:gd name="T2" fmla="*/ 459 w 847"/>
              <a:gd name="T3" fmla="*/ 0 h 848"/>
              <a:gd name="T4" fmla="*/ 653 w 847"/>
              <a:gd name="T5" fmla="*/ 195 h 848"/>
              <a:gd name="T6" fmla="*/ 847 w 847"/>
              <a:gd name="T7" fmla="*/ 389 h 848"/>
              <a:gd name="T8" fmla="*/ 423 w 847"/>
              <a:gd name="T9" fmla="*/ 500 h 848"/>
              <a:gd name="T10" fmla="*/ 234 w 847"/>
              <a:gd name="T11" fmla="*/ 848 h 848"/>
              <a:gd name="T12" fmla="*/ 118 w 847"/>
              <a:gd name="T13" fmla="*/ 730 h 848"/>
              <a:gd name="T14" fmla="*/ 0 w 847"/>
              <a:gd name="T15" fmla="*/ 612 h 848"/>
              <a:gd name="T16" fmla="*/ 348 w 847"/>
              <a:gd name="T17" fmla="*/ 424 h 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47" h="848">
                <a:moveTo>
                  <a:pt x="348" y="424"/>
                </a:moveTo>
                <a:lnTo>
                  <a:pt x="459" y="0"/>
                </a:lnTo>
                <a:lnTo>
                  <a:pt x="653" y="195"/>
                </a:lnTo>
                <a:lnTo>
                  <a:pt x="847" y="389"/>
                </a:lnTo>
                <a:lnTo>
                  <a:pt x="423" y="500"/>
                </a:lnTo>
                <a:lnTo>
                  <a:pt x="234" y="848"/>
                </a:lnTo>
                <a:lnTo>
                  <a:pt x="118" y="730"/>
                </a:lnTo>
                <a:lnTo>
                  <a:pt x="0" y="612"/>
                </a:lnTo>
                <a:lnTo>
                  <a:pt x="348" y="424"/>
                </a:lnTo>
                <a:close/>
              </a:path>
            </a:pathLst>
          </a:custGeom>
          <a:gradFill flip="none" rotWithShape="1">
            <a:gsLst>
              <a:gs pos="51000">
                <a:srgbClr val="69AFC0"/>
              </a:gs>
              <a:gs pos="0">
                <a:srgbClr val="125680"/>
              </a:gs>
              <a:gs pos="96000">
                <a:srgbClr val="125680"/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11"/>
          <p:cNvSpPr>
            <a:spLocks/>
          </p:cNvSpPr>
          <p:nvPr/>
        </p:nvSpPr>
        <p:spPr bwMode="auto">
          <a:xfrm>
            <a:off x="5338763" y="3356792"/>
            <a:ext cx="1344613" cy="1346200"/>
          </a:xfrm>
          <a:custGeom>
            <a:avLst/>
            <a:gdLst>
              <a:gd name="T0" fmla="*/ 499 w 847"/>
              <a:gd name="T1" fmla="*/ 424 h 848"/>
              <a:gd name="T2" fmla="*/ 388 w 847"/>
              <a:gd name="T3" fmla="*/ 0 h 848"/>
              <a:gd name="T4" fmla="*/ 194 w 847"/>
              <a:gd name="T5" fmla="*/ 195 h 848"/>
              <a:gd name="T6" fmla="*/ 0 w 847"/>
              <a:gd name="T7" fmla="*/ 389 h 848"/>
              <a:gd name="T8" fmla="*/ 424 w 847"/>
              <a:gd name="T9" fmla="*/ 500 h 848"/>
              <a:gd name="T10" fmla="*/ 613 w 847"/>
              <a:gd name="T11" fmla="*/ 848 h 848"/>
              <a:gd name="T12" fmla="*/ 729 w 847"/>
              <a:gd name="T13" fmla="*/ 730 h 848"/>
              <a:gd name="T14" fmla="*/ 847 w 847"/>
              <a:gd name="T15" fmla="*/ 612 h 848"/>
              <a:gd name="T16" fmla="*/ 499 w 847"/>
              <a:gd name="T17" fmla="*/ 424 h 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47" h="848">
                <a:moveTo>
                  <a:pt x="499" y="424"/>
                </a:moveTo>
                <a:lnTo>
                  <a:pt x="388" y="0"/>
                </a:lnTo>
                <a:lnTo>
                  <a:pt x="194" y="195"/>
                </a:lnTo>
                <a:lnTo>
                  <a:pt x="0" y="389"/>
                </a:lnTo>
                <a:lnTo>
                  <a:pt x="424" y="500"/>
                </a:lnTo>
                <a:lnTo>
                  <a:pt x="613" y="848"/>
                </a:lnTo>
                <a:lnTo>
                  <a:pt x="729" y="730"/>
                </a:lnTo>
                <a:lnTo>
                  <a:pt x="847" y="612"/>
                </a:lnTo>
                <a:lnTo>
                  <a:pt x="499" y="424"/>
                </a:lnTo>
                <a:close/>
              </a:path>
            </a:pathLst>
          </a:custGeom>
          <a:gradFill flip="none" rotWithShape="1">
            <a:gsLst>
              <a:gs pos="4000">
                <a:srgbClr val="4E2230"/>
              </a:gs>
              <a:gs pos="100000">
                <a:srgbClr val="4E2230"/>
              </a:gs>
              <a:gs pos="46000">
                <a:srgbClr val="F6443B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Oval 12"/>
          <p:cNvSpPr>
            <a:spLocks noChangeArrowheads="1"/>
          </p:cNvSpPr>
          <p:nvPr/>
        </p:nvSpPr>
        <p:spPr bwMode="auto">
          <a:xfrm>
            <a:off x="4383088" y="2397942"/>
            <a:ext cx="1606550" cy="1609725"/>
          </a:xfrm>
          <a:prstGeom prst="ellipse">
            <a:avLst/>
          </a:prstGeom>
          <a:gradFill flip="none" rotWithShape="1">
            <a:gsLst>
              <a:gs pos="100000">
                <a:srgbClr val="4186A2"/>
              </a:gs>
              <a:gs pos="0">
                <a:srgbClr val="B0F7F4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3"/>
          <p:cNvSpPr>
            <a:spLocks/>
          </p:cNvSpPr>
          <p:nvPr/>
        </p:nvSpPr>
        <p:spPr bwMode="auto">
          <a:xfrm>
            <a:off x="4383088" y="2397942"/>
            <a:ext cx="1606550" cy="1609725"/>
          </a:xfrm>
          <a:custGeom>
            <a:avLst/>
            <a:gdLst>
              <a:gd name="T0" fmla="*/ 1012 w 1012"/>
              <a:gd name="T1" fmla="*/ 507 h 1014"/>
              <a:gd name="T2" fmla="*/ 506 w 1012"/>
              <a:gd name="T3" fmla="*/ 1014 h 1014"/>
              <a:gd name="T4" fmla="*/ 0 w 1012"/>
              <a:gd name="T5" fmla="*/ 507 h 1014"/>
              <a:gd name="T6" fmla="*/ 506 w 1012"/>
              <a:gd name="T7" fmla="*/ 0 h 1014"/>
              <a:gd name="T8" fmla="*/ 1012 w 1012"/>
              <a:gd name="T9" fmla="*/ 507 h 10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2" h="1014">
                <a:moveTo>
                  <a:pt x="1012" y="507"/>
                </a:moveTo>
                <a:lnTo>
                  <a:pt x="506" y="1014"/>
                </a:lnTo>
                <a:lnTo>
                  <a:pt x="0" y="507"/>
                </a:lnTo>
                <a:lnTo>
                  <a:pt x="506" y="0"/>
                </a:lnTo>
                <a:lnTo>
                  <a:pt x="1012" y="507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9" name="Freeform 19"/>
          <p:cNvSpPr>
            <a:spLocks/>
          </p:cNvSpPr>
          <p:nvPr/>
        </p:nvSpPr>
        <p:spPr bwMode="auto">
          <a:xfrm>
            <a:off x="8991600" y="3356792"/>
            <a:ext cx="1339850" cy="1346200"/>
          </a:xfrm>
          <a:custGeom>
            <a:avLst/>
            <a:gdLst>
              <a:gd name="T0" fmla="*/ 499 w 844"/>
              <a:gd name="T1" fmla="*/ 424 h 848"/>
              <a:gd name="T2" fmla="*/ 388 w 844"/>
              <a:gd name="T3" fmla="*/ 0 h 848"/>
              <a:gd name="T4" fmla="*/ 194 w 844"/>
              <a:gd name="T5" fmla="*/ 195 h 848"/>
              <a:gd name="T6" fmla="*/ 0 w 844"/>
              <a:gd name="T7" fmla="*/ 389 h 848"/>
              <a:gd name="T8" fmla="*/ 423 w 844"/>
              <a:gd name="T9" fmla="*/ 500 h 848"/>
              <a:gd name="T10" fmla="*/ 610 w 844"/>
              <a:gd name="T11" fmla="*/ 848 h 848"/>
              <a:gd name="T12" fmla="*/ 728 w 844"/>
              <a:gd name="T13" fmla="*/ 730 h 848"/>
              <a:gd name="T14" fmla="*/ 844 w 844"/>
              <a:gd name="T15" fmla="*/ 612 h 848"/>
              <a:gd name="T16" fmla="*/ 499 w 844"/>
              <a:gd name="T17" fmla="*/ 424 h 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44" h="848">
                <a:moveTo>
                  <a:pt x="499" y="424"/>
                </a:moveTo>
                <a:lnTo>
                  <a:pt x="388" y="0"/>
                </a:lnTo>
                <a:lnTo>
                  <a:pt x="194" y="195"/>
                </a:lnTo>
                <a:lnTo>
                  <a:pt x="0" y="389"/>
                </a:lnTo>
                <a:lnTo>
                  <a:pt x="423" y="500"/>
                </a:lnTo>
                <a:lnTo>
                  <a:pt x="610" y="848"/>
                </a:lnTo>
                <a:lnTo>
                  <a:pt x="728" y="730"/>
                </a:lnTo>
                <a:lnTo>
                  <a:pt x="844" y="612"/>
                </a:lnTo>
                <a:lnTo>
                  <a:pt x="499" y="424"/>
                </a:lnTo>
                <a:close/>
              </a:path>
            </a:pathLst>
          </a:custGeom>
          <a:gradFill flip="none" rotWithShape="1">
            <a:gsLst>
              <a:gs pos="4000">
                <a:srgbClr val="4E2230"/>
              </a:gs>
              <a:gs pos="100000">
                <a:srgbClr val="4E2230"/>
              </a:gs>
              <a:gs pos="46000">
                <a:srgbClr val="F6443B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Oval 15"/>
          <p:cNvSpPr>
            <a:spLocks noChangeArrowheads="1"/>
          </p:cNvSpPr>
          <p:nvPr/>
        </p:nvSpPr>
        <p:spPr bwMode="auto">
          <a:xfrm>
            <a:off x="8031163" y="2397942"/>
            <a:ext cx="1609725" cy="1609725"/>
          </a:xfrm>
          <a:prstGeom prst="ellipse">
            <a:avLst/>
          </a:prstGeom>
          <a:gradFill flip="none" rotWithShape="1">
            <a:gsLst>
              <a:gs pos="100000">
                <a:srgbClr val="4186A2"/>
              </a:gs>
              <a:gs pos="0">
                <a:srgbClr val="B0F7F4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7" name="Oval 17"/>
          <p:cNvSpPr>
            <a:spLocks noChangeArrowheads="1"/>
          </p:cNvSpPr>
          <p:nvPr/>
        </p:nvSpPr>
        <p:spPr bwMode="auto">
          <a:xfrm>
            <a:off x="6207125" y="4226742"/>
            <a:ext cx="1606550" cy="1609725"/>
          </a:xfrm>
          <a:prstGeom prst="ellipse">
            <a:avLst/>
          </a:prstGeom>
          <a:gradFill flip="none" rotWithShape="1">
            <a:gsLst>
              <a:gs pos="0">
                <a:srgbClr val="4E2230"/>
              </a:gs>
              <a:gs pos="100000">
                <a:srgbClr val="F6443B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18"/>
          <p:cNvSpPr>
            <a:spLocks/>
          </p:cNvSpPr>
          <p:nvPr/>
        </p:nvSpPr>
        <p:spPr bwMode="auto">
          <a:xfrm>
            <a:off x="6207125" y="4226742"/>
            <a:ext cx="1606550" cy="1609725"/>
          </a:xfrm>
          <a:custGeom>
            <a:avLst/>
            <a:gdLst>
              <a:gd name="T0" fmla="*/ 1012 w 1012"/>
              <a:gd name="T1" fmla="*/ 507 h 1014"/>
              <a:gd name="T2" fmla="*/ 506 w 1012"/>
              <a:gd name="T3" fmla="*/ 1014 h 1014"/>
              <a:gd name="T4" fmla="*/ 0 w 1012"/>
              <a:gd name="T5" fmla="*/ 507 h 1014"/>
              <a:gd name="T6" fmla="*/ 506 w 1012"/>
              <a:gd name="T7" fmla="*/ 0 h 1014"/>
              <a:gd name="T8" fmla="*/ 1012 w 1012"/>
              <a:gd name="T9" fmla="*/ 507 h 10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2" h="1014">
                <a:moveTo>
                  <a:pt x="1012" y="507"/>
                </a:moveTo>
                <a:lnTo>
                  <a:pt x="506" y="1014"/>
                </a:lnTo>
                <a:lnTo>
                  <a:pt x="0" y="507"/>
                </a:lnTo>
                <a:lnTo>
                  <a:pt x="506" y="0"/>
                </a:lnTo>
                <a:lnTo>
                  <a:pt x="1012" y="507"/>
                </a:lnTo>
                <a:close/>
              </a:path>
            </a:pathLst>
          </a:custGeom>
          <a:gradFill flip="none" rotWithShape="1">
            <a:gsLst>
              <a:gs pos="100000">
                <a:srgbClr val="F6443B"/>
              </a:gs>
              <a:gs pos="0">
                <a:srgbClr val="F9857F"/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Oval 20"/>
          <p:cNvSpPr>
            <a:spLocks noChangeArrowheads="1"/>
          </p:cNvSpPr>
          <p:nvPr/>
        </p:nvSpPr>
        <p:spPr bwMode="auto">
          <a:xfrm>
            <a:off x="9855200" y="4226742"/>
            <a:ext cx="1609725" cy="1609725"/>
          </a:xfrm>
          <a:prstGeom prst="ellipse">
            <a:avLst/>
          </a:prstGeom>
          <a:gradFill flip="none" rotWithShape="1">
            <a:gsLst>
              <a:gs pos="0">
                <a:srgbClr val="4E2230"/>
              </a:gs>
              <a:gs pos="100000">
                <a:srgbClr val="F6443B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21"/>
          <p:cNvSpPr>
            <a:spLocks/>
          </p:cNvSpPr>
          <p:nvPr/>
        </p:nvSpPr>
        <p:spPr bwMode="auto">
          <a:xfrm>
            <a:off x="9855200" y="4226742"/>
            <a:ext cx="1609725" cy="1609725"/>
          </a:xfrm>
          <a:custGeom>
            <a:avLst/>
            <a:gdLst>
              <a:gd name="T0" fmla="*/ 1014 w 1014"/>
              <a:gd name="T1" fmla="*/ 507 h 1014"/>
              <a:gd name="T2" fmla="*/ 508 w 1014"/>
              <a:gd name="T3" fmla="*/ 1014 h 1014"/>
              <a:gd name="T4" fmla="*/ 0 w 1014"/>
              <a:gd name="T5" fmla="*/ 507 h 1014"/>
              <a:gd name="T6" fmla="*/ 508 w 1014"/>
              <a:gd name="T7" fmla="*/ 0 h 1014"/>
              <a:gd name="T8" fmla="*/ 1014 w 1014"/>
              <a:gd name="T9" fmla="*/ 507 h 10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4" h="1014">
                <a:moveTo>
                  <a:pt x="1014" y="507"/>
                </a:moveTo>
                <a:lnTo>
                  <a:pt x="508" y="1014"/>
                </a:lnTo>
                <a:lnTo>
                  <a:pt x="0" y="507"/>
                </a:lnTo>
                <a:lnTo>
                  <a:pt x="508" y="0"/>
                </a:lnTo>
                <a:lnTo>
                  <a:pt x="1014" y="507"/>
                </a:lnTo>
                <a:close/>
              </a:path>
            </a:pathLst>
          </a:custGeom>
          <a:gradFill flip="none" rotWithShape="1">
            <a:gsLst>
              <a:gs pos="100000">
                <a:srgbClr val="F6443B"/>
              </a:gs>
              <a:gs pos="0">
                <a:srgbClr val="F9857F"/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Oval 8"/>
          <p:cNvSpPr>
            <a:spLocks noChangeArrowheads="1"/>
          </p:cNvSpPr>
          <p:nvPr/>
        </p:nvSpPr>
        <p:spPr bwMode="auto">
          <a:xfrm>
            <a:off x="2557463" y="4226742"/>
            <a:ext cx="1606550" cy="1609725"/>
          </a:xfrm>
          <a:prstGeom prst="ellipse">
            <a:avLst/>
          </a:prstGeom>
          <a:gradFill flip="none" rotWithShape="1">
            <a:gsLst>
              <a:gs pos="0">
                <a:srgbClr val="4E2230"/>
              </a:gs>
              <a:gs pos="100000">
                <a:srgbClr val="F6443B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9"/>
          <p:cNvSpPr>
            <a:spLocks/>
          </p:cNvSpPr>
          <p:nvPr/>
        </p:nvSpPr>
        <p:spPr bwMode="auto">
          <a:xfrm>
            <a:off x="2557463" y="4226742"/>
            <a:ext cx="1606550" cy="1609725"/>
          </a:xfrm>
          <a:custGeom>
            <a:avLst/>
            <a:gdLst>
              <a:gd name="T0" fmla="*/ 1012 w 1012"/>
              <a:gd name="T1" fmla="*/ 507 h 1014"/>
              <a:gd name="T2" fmla="*/ 506 w 1012"/>
              <a:gd name="T3" fmla="*/ 1014 h 1014"/>
              <a:gd name="T4" fmla="*/ 0 w 1012"/>
              <a:gd name="T5" fmla="*/ 507 h 1014"/>
              <a:gd name="T6" fmla="*/ 506 w 1012"/>
              <a:gd name="T7" fmla="*/ 0 h 1014"/>
              <a:gd name="T8" fmla="*/ 1012 w 1012"/>
              <a:gd name="T9" fmla="*/ 507 h 10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2" h="1014">
                <a:moveTo>
                  <a:pt x="1012" y="507"/>
                </a:moveTo>
                <a:lnTo>
                  <a:pt x="506" y="1014"/>
                </a:lnTo>
                <a:lnTo>
                  <a:pt x="0" y="507"/>
                </a:lnTo>
                <a:lnTo>
                  <a:pt x="506" y="0"/>
                </a:lnTo>
                <a:lnTo>
                  <a:pt x="1012" y="507"/>
                </a:lnTo>
                <a:close/>
              </a:path>
            </a:pathLst>
          </a:custGeom>
          <a:gradFill flip="none" rotWithShape="1">
            <a:gsLst>
              <a:gs pos="100000">
                <a:srgbClr val="F6443B"/>
              </a:gs>
              <a:gs pos="0">
                <a:srgbClr val="F9857F"/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67" name="Group 66"/>
          <p:cNvGrpSpPr/>
          <p:nvPr/>
        </p:nvGrpSpPr>
        <p:grpSpPr>
          <a:xfrm>
            <a:off x="3082577" y="4838700"/>
            <a:ext cx="556322" cy="512808"/>
            <a:chOff x="4313201" y="1920875"/>
            <a:chExt cx="284163" cy="261938"/>
          </a:xfrm>
          <a:solidFill>
            <a:schemeClr val="bg1"/>
          </a:solidFill>
          <a:effectLst/>
        </p:grpSpPr>
        <p:sp>
          <p:nvSpPr>
            <p:cNvPr id="68" name="Freeform 3131"/>
            <p:cNvSpPr>
              <a:spLocks/>
            </p:cNvSpPr>
            <p:nvPr/>
          </p:nvSpPr>
          <p:spPr bwMode="auto">
            <a:xfrm>
              <a:off x="4313201" y="1920875"/>
              <a:ext cx="236538" cy="200025"/>
            </a:xfrm>
            <a:custGeom>
              <a:avLst/>
              <a:gdLst>
                <a:gd name="T0" fmla="*/ 599 w 599"/>
                <a:gd name="T1" fmla="*/ 12 h 503"/>
                <a:gd name="T2" fmla="*/ 599 w 599"/>
                <a:gd name="T3" fmla="*/ 7 h 503"/>
                <a:gd name="T4" fmla="*/ 595 w 599"/>
                <a:gd name="T5" fmla="*/ 3 h 503"/>
                <a:gd name="T6" fmla="*/ 592 w 599"/>
                <a:gd name="T7" fmla="*/ 1 h 503"/>
                <a:gd name="T8" fmla="*/ 587 w 599"/>
                <a:gd name="T9" fmla="*/ 0 h 503"/>
                <a:gd name="T10" fmla="*/ 12 w 599"/>
                <a:gd name="T11" fmla="*/ 0 h 503"/>
                <a:gd name="T12" fmla="*/ 8 w 599"/>
                <a:gd name="T13" fmla="*/ 1 h 503"/>
                <a:gd name="T14" fmla="*/ 4 w 599"/>
                <a:gd name="T15" fmla="*/ 3 h 503"/>
                <a:gd name="T16" fmla="*/ 2 w 599"/>
                <a:gd name="T17" fmla="*/ 7 h 503"/>
                <a:gd name="T18" fmla="*/ 0 w 599"/>
                <a:gd name="T19" fmla="*/ 12 h 503"/>
                <a:gd name="T20" fmla="*/ 0 w 599"/>
                <a:gd name="T21" fmla="*/ 371 h 503"/>
                <a:gd name="T22" fmla="*/ 2 w 599"/>
                <a:gd name="T23" fmla="*/ 376 h 503"/>
                <a:gd name="T24" fmla="*/ 4 w 599"/>
                <a:gd name="T25" fmla="*/ 379 h 503"/>
                <a:gd name="T26" fmla="*/ 8 w 599"/>
                <a:gd name="T27" fmla="*/ 382 h 503"/>
                <a:gd name="T28" fmla="*/ 12 w 599"/>
                <a:gd name="T29" fmla="*/ 383 h 503"/>
                <a:gd name="T30" fmla="*/ 96 w 599"/>
                <a:gd name="T31" fmla="*/ 383 h 503"/>
                <a:gd name="T32" fmla="*/ 96 w 599"/>
                <a:gd name="T33" fmla="*/ 490 h 503"/>
                <a:gd name="T34" fmla="*/ 97 w 599"/>
                <a:gd name="T35" fmla="*/ 493 h 503"/>
                <a:gd name="T36" fmla="*/ 98 w 599"/>
                <a:gd name="T37" fmla="*/ 497 h 503"/>
                <a:gd name="T38" fmla="*/ 100 w 599"/>
                <a:gd name="T39" fmla="*/ 499 h 503"/>
                <a:gd name="T40" fmla="*/ 104 w 599"/>
                <a:gd name="T41" fmla="*/ 502 h 503"/>
                <a:gd name="T42" fmla="*/ 106 w 599"/>
                <a:gd name="T43" fmla="*/ 502 h 503"/>
                <a:gd name="T44" fmla="*/ 109 w 599"/>
                <a:gd name="T45" fmla="*/ 503 h 503"/>
                <a:gd name="T46" fmla="*/ 112 w 599"/>
                <a:gd name="T47" fmla="*/ 502 h 503"/>
                <a:gd name="T48" fmla="*/ 117 w 599"/>
                <a:gd name="T49" fmla="*/ 499 h 503"/>
                <a:gd name="T50" fmla="*/ 232 w 599"/>
                <a:gd name="T51" fmla="*/ 383 h 503"/>
                <a:gd name="T52" fmla="*/ 288 w 599"/>
                <a:gd name="T53" fmla="*/ 383 h 503"/>
                <a:gd name="T54" fmla="*/ 288 w 599"/>
                <a:gd name="T55" fmla="*/ 251 h 503"/>
                <a:gd name="T56" fmla="*/ 288 w 599"/>
                <a:gd name="T57" fmla="*/ 246 h 503"/>
                <a:gd name="T58" fmla="*/ 291 w 599"/>
                <a:gd name="T59" fmla="*/ 242 h 503"/>
                <a:gd name="T60" fmla="*/ 295 w 599"/>
                <a:gd name="T61" fmla="*/ 240 h 503"/>
                <a:gd name="T62" fmla="*/ 300 w 599"/>
                <a:gd name="T63" fmla="*/ 239 h 503"/>
                <a:gd name="T64" fmla="*/ 599 w 599"/>
                <a:gd name="T65" fmla="*/ 239 h 503"/>
                <a:gd name="T66" fmla="*/ 599 w 599"/>
                <a:gd name="T67" fmla="*/ 1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9" h="503">
                  <a:moveTo>
                    <a:pt x="599" y="12"/>
                  </a:moveTo>
                  <a:lnTo>
                    <a:pt x="599" y="7"/>
                  </a:lnTo>
                  <a:lnTo>
                    <a:pt x="595" y="3"/>
                  </a:lnTo>
                  <a:lnTo>
                    <a:pt x="592" y="1"/>
                  </a:lnTo>
                  <a:lnTo>
                    <a:pt x="587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2" y="7"/>
                  </a:lnTo>
                  <a:lnTo>
                    <a:pt x="0" y="12"/>
                  </a:lnTo>
                  <a:lnTo>
                    <a:pt x="0" y="371"/>
                  </a:lnTo>
                  <a:lnTo>
                    <a:pt x="2" y="376"/>
                  </a:lnTo>
                  <a:lnTo>
                    <a:pt x="4" y="379"/>
                  </a:lnTo>
                  <a:lnTo>
                    <a:pt x="8" y="382"/>
                  </a:lnTo>
                  <a:lnTo>
                    <a:pt x="12" y="383"/>
                  </a:lnTo>
                  <a:lnTo>
                    <a:pt x="96" y="383"/>
                  </a:lnTo>
                  <a:lnTo>
                    <a:pt x="96" y="490"/>
                  </a:lnTo>
                  <a:lnTo>
                    <a:pt x="97" y="493"/>
                  </a:lnTo>
                  <a:lnTo>
                    <a:pt x="98" y="497"/>
                  </a:lnTo>
                  <a:lnTo>
                    <a:pt x="100" y="499"/>
                  </a:lnTo>
                  <a:lnTo>
                    <a:pt x="104" y="502"/>
                  </a:lnTo>
                  <a:lnTo>
                    <a:pt x="106" y="502"/>
                  </a:lnTo>
                  <a:lnTo>
                    <a:pt x="109" y="503"/>
                  </a:lnTo>
                  <a:lnTo>
                    <a:pt x="112" y="502"/>
                  </a:lnTo>
                  <a:lnTo>
                    <a:pt x="117" y="499"/>
                  </a:lnTo>
                  <a:lnTo>
                    <a:pt x="232" y="383"/>
                  </a:lnTo>
                  <a:lnTo>
                    <a:pt x="288" y="383"/>
                  </a:lnTo>
                  <a:lnTo>
                    <a:pt x="288" y="251"/>
                  </a:lnTo>
                  <a:lnTo>
                    <a:pt x="288" y="246"/>
                  </a:lnTo>
                  <a:lnTo>
                    <a:pt x="291" y="242"/>
                  </a:lnTo>
                  <a:lnTo>
                    <a:pt x="295" y="240"/>
                  </a:lnTo>
                  <a:lnTo>
                    <a:pt x="300" y="239"/>
                  </a:lnTo>
                  <a:lnTo>
                    <a:pt x="599" y="239"/>
                  </a:lnTo>
                  <a:lnTo>
                    <a:pt x="599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3132"/>
            <p:cNvSpPr>
              <a:spLocks/>
            </p:cNvSpPr>
            <p:nvPr/>
          </p:nvSpPr>
          <p:spPr bwMode="auto">
            <a:xfrm>
              <a:off x="4437026" y="2025650"/>
              <a:ext cx="160338" cy="157163"/>
            </a:xfrm>
            <a:custGeom>
              <a:avLst/>
              <a:gdLst>
                <a:gd name="T0" fmla="*/ 395 w 407"/>
                <a:gd name="T1" fmla="*/ 0 h 394"/>
                <a:gd name="T2" fmla="*/ 12 w 407"/>
                <a:gd name="T3" fmla="*/ 0 h 394"/>
                <a:gd name="T4" fmla="*/ 0 w 407"/>
                <a:gd name="T5" fmla="*/ 0 h 394"/>
                <a:gd name="T6" fmla="*/ 0 w 407"/>
                <a:gd name="T7" fmla="*/ 11 h 394"/>
                <a:gd name="T8" fmla="*/ 0 w 407"/>
                <a:gd name="T9" fmla="*/ 252 h 394"/>
                <a:gd name="T10" fmla="*/ 0 w 407"/>
                <a:gd name="T11" fmla="*/ 255 h 394"/>
                <a:gd name="T12" fmla="*/ 4 w 407"/>
                <a:gd name="T13" fmla="*/ 260 h 394"/>
                <a:gd name="T14" fmla="*/ 7 w 407"/>
                <a:gd name="T15" fmla="*/ 262 h 394"/>
                <a:gd name="T16" fmla="*/ 12 w 407"/>
                <a:gd name="T17" fmla="*/ 264 h 394"/>
                <a:gd name="T18" fmla="*/ 193 w 407"/>
                <a:gd name="T19" fmla="*/ 264 h 394"/>
                <a:gd name="T20" fmla="*/ 198 w 407"/>
                <a:gd name="T21" fmla="*/ 264 h 394"/>
                <a:gd name="T22" fmla="*/ 314 w 407"/>
                <a:gd name="T23" fmla="*/ 391 h 394"/>
                <a:gd name="T24" fmla="*/ 319 w 407"/>
                <a:gd name="T25" fmla="*/ 394 h 394"/>
                <a:gd name="T26" fmla="*/ 324 w 407"/>
                <a:gd name="T27" fmla="*/ 394 h 394"/>
                <a:gd name="T28" fmla="*/ 325 w 407"/>
                <a:gd name="T29" fmla="*/ 394 h 394"/>
                <a:gd name="T30" fmla="*/ 327 w 407"/>
                <a:gd name="T31" fmla="*/ 394 h 394"/>
                <a:gd name="T32" fmla="*/ 331 w 407"/>
                <a:gd name="T33" fmla="*/ 392 h 394"/>
                <a:gd name="T34" fmla="*/ 333 w 407"/>
                <a:gd name="T35" fmla="*/ 390 h 394"/>
                <a:gd name="T36" fmla="*/ 334 w 407"/>
                <a:gd name="T37" fmla="*/ 386 h 394"/>
                <a:gd name="T38" fmla="*/ 336 w 407"/>
                <a:gd name="T39" fmla="*/ 383 h 394"/>
                <a:gd name="T40" fmla="*/ 336 w 407"/>
                <a:gd name="T41" fmla="*/ 276 h 394"/>
                <a:gd name="T42" fmla="*/ 336 w 407"/>
                <a:gd name="T43" fmla="*/ 264 h 394"/>
                <a:gd name="T44" fmla="*/ 347 w 407"/>
                <a:gd name="T45" fmla="*/ 264 h 394"/>
                <a:gd name="T46" fmla="*/ 395 w 407"/>
                <a:gd name="T47" fmla="*/ 264 h 394"/>
                <a:gd name="T48" fmla="*/ 400 w 407"/>
                <a:gd name="T49" fmla="*/ 262 h 394"/>
                <a:gd name="T50" fmla="*/ 403 w 407"/>
                <a:gd name="T51" fmla="*/ 260 h 394"/>
                <a:gd name="T52" fmla="*/ 406 w 407"/>
                <a:gd name="T53" fmla="*/ 257 h 394"/>
                <a:gd name="T54" fmla="*/ 407 w 407"/>
                <a:gd name="T55" fmla="*/ 252 h 394"/>
                <a:gd name="T56" fmla="*/ 407 w 407"/>
                <a:gd name="T57" fmla="*/ 11 h 394"/>
                <a:gd name="T58" fmla="*/ 406 w 407"/>
                <a:gd name="T59" fmla="*/ 7 h 394"/>
                <a:gd name="T60" fmla="*/ 403 w 407"/>
                <a:gd name="T61" fmla="*/ 3 h 394"/>
                <a:gd name="T62" fmla="*/ 400 w 407"/>
                <a:gd name="T63" fmla="*/ 1 h 394"/>
                <a:gd name="T64" fmla="*/ 395 w 407"/>
                <a:gd name="T65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7" h="394">
                  <a:moveTo>
                    <a:pt x="395" y="0"/>
                  </a:moveTo>
                  <a:lnTo>
                    <a:pt x="12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0" y="252"/>
                  </a:lnTo>
                  <a:lnTo>
                    <a:pt x="0" y="255"/>
                  </a:lnTo>
                  <a:lnTo>
                    <a:pt x="4" y="260"/>
                  </a:lnTo>
                  <a:lnTo>
                    <a:pt x="7" y="262"/>
                  </a:lnTo>
                  <a:lnTo>
                    <a:pt x="12" y="264"/>
                  </a:lnTo>
                  <a:lnTo>
                    <a:pt x="193" y="264"/>
                  </a:lnTo>
                  <a:lnTo>
                    <a:pt x="198" y="264"/>
                  </a:lnTo>
                  <a:lnTo>
                    <a:pt x="314" y="391"/>
                  </a:lnTo>
                  <a:lnTo>
                    <a:pt x="319" y="394"/>
                  </a:lnTo>
                  <a:lnTo>
                    <a:pt x="324" y="394"/>
                  </a:lnTo>
                  <a:lnTo>
                    <a:pt x="325" y="394"/>
                  </a:lnTo>
                  <a:lnTo>
                    <a:pt x="327" y="394"/>
                  </a:lnTo>
                  <a:lnTo>
                    <a:pt x="331" y="392"/>
                  </a:lnTo>
                  <a:lnTo>
                    <a:pt x="333" y="390"/>
                  </a:lnTo>
                  <a:lnTo>
                    <a:pt x="334" y="386"/>
                  </a:lnTo>
                  <a:lnTo>
                    <a:pt x="336" y="383"/>
                  </a:lnTo>
                  <a:lnTo>
                    <a:pt x="336" y="276"/>
                  </a:lnTo>
                  <a:lnTo>
                    <a:pt x="336" y="264"/>
                  </a:lnTo>
                  <a:lnTo>
                    <a:pt x="347" y="264"/>
                  </a:lnTo>
                  <a:lnTo>
                    <a:pt x="395" y="264"/>
                  </a:lnTo>
                  <a:lnTo>
                    <a:pt x="400" y="262"/>
                  </a:lnTo>
                  <a:lnTo>
                    <a:pt x="403" y="260"/>
                  </a:lnTo>
                  <a:lnTo>
                    <a:pt x="406" y="257"/>
                  </a:lnTo>
                  <a:lnTo>
                    <a:pt x="407" y="252"/>
                  </a:lnTo>
                  <a:lnTo>
                    <a:pt x="407" y="11"/>
                  </a:lnTo>
                  <a:lnTo>
                    <a:pt x="406" y="7"/>
                  </a:lnTo>
                  <a:lnTo>
                    <a:pt x="403" y="3"/>
                  </a:lnTo>
                  <a:lnTo>
                    <a:pt x="400" y="1"/>
                  </a:lnTo>
                  <a:lnTo>
                    <a:pt x="39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4914857" y="2988617"/>
            <a:ext cx="543012" cy="428374"/>
            <a:chOff x="9883775" y="5410200"/>
            <a:chExt cx="285750" cy="225425"/>
          </a:xfrm>
          <a:solidFill>
            <a:srgbClr val="125680"/>
          </a:solidFill>
          <a:effectLst/>
        </p:grpSpPr>
        <p:sp>
          <p:nvSpPr>
            <p:cNvPr id="71" name="Freeform 3677"/>
            <p:cNvSpPr>
              <a:spLocks/>
            </p:cNvSpPr>
            <p:nvPr/>
          </p:nvSpPr>
          <p:spPr bwMode="auto">
            <a:xfrm>
              <a:off x="10052050" y="5445125"/>
              <a:ext cx="117475" cy="190500"/>
            </a:xfrm>
            <a:custGeom>
              <a:avLst/>
              <a:gdLst>
                <a:gd name="T0" fmla="*/ 201 w 296"/>
                <a:gd name="T1" fmla="*/ 285 h 482"/>
                <a:gd name="T2" fmla="*/ 168 w 296"/>
                <a:gd name="T3" fmla="*/ 275 h 482"/>
                <a:gd name="T4" fmla="*/ 153 w 296"/>
                <a:gd name="T5" fmla="*/ 238 h 482"/>
                <a:gd name="T6" fmla="*/ 163 w 296"/>
                <a:gd name="T7" fmla="*/ 230 h 482"/>
                <a:gd name="T8" fmla="*/ 176 w 296"/>
                <a:gd name="T9" fmla="*/ 219 h 482"/>
                <a:gd name="T10" fmla="*/ 185 w 296"/>
                <a:gd name="T11" fmla="*/ 201 h 482"/>
                <a:gd name="T12" fmla="*/ 190 w 296"/>
                <a:gd name="T13" fmla="*/ 175 h 482"/>
                <a:gd name="T14" fmla="*/ 198 w 296"/>
                <a:gd name="T15" fmla="*/ 167 h 482"/>
                <a:gd name="T16" fmla="*/ 201 w 296"/>
                <a:gd name="T17" fmla="*/ 158 h 482"/>
                <a:gd name="T18" fmla="*/ 205 w 296"/>
                <a:gd name="T19" fmla="*/ 133 h 482"/>
                <a:gd name="T20" fmla="*/ 205 w 296"/>
                <a:gd name="T21" fmla="*/ 122 h 482"/>
                <a:gd name="T22" fmla="*/ 201 w 296"/>
                <a:gd name="T23" fmla="*/ 110 h 482"/>
                <a:gd name="T24" fmla="*/ 195 w 296"/>
                <a:gd name="T25" fmla="*/ 101 h 482"/>
                <a:gd name="T26" fmla="*/ 205 w 296"/>
                <a:gd name="T27" fmla="*/ 76 h 482"/>
                <a:gd name="T28" fmla="*/ 208 w 296"/>
                <a:gd name="T29" fmla="*/ 59 h 482"/>
                <a:gd name="T30" fmla="*/ 205 w 296"/>
                <a:gd name="T31" fmla="*/ 43 h 482"/>
                <a:gd name="T32" fmla="*/ 200 w 296"/>
                <a:gd name="T33" fmla="*/ 31 h 482"/>
                <a:gd name="T34" fmla="*/ 192 w 296"/>
                <a:gd name="T35" fmla="*/ 22 h 482"/>
                <a:gd name="T36" fmla="*/ 171 w 296"/>
                <a:gd name="T37" fmla="*/ 9 h 482"/>
                <a:gd name="T38" fmla="*/ 145 w 296"/>
                <a:gd name="T39" fmla="*/ 2 h 482"/>
                <a:gd name="T40" fmla="*/ 118 w 296"/>
                <a:gd name="T41" fmla="*/ 0 h 482"/>
                <a:gd name="T42" fmla="*/ 95 w 296"/>
                <a:gd name="T43" fmla="*/ 2 h 482"/>
                <a:gd name="T44" fmla="*/ 70 w 296"/>
                <a:gd name="T45" fmla="*/ 7 h 482"/>
                <a:gd name="T46" fmla="*/ 50 w 296"/>
                <a:gd name="T47" fmla="*/ 17 h 482"/>
                <a:gd name="T48" fmla="*/ 36 w 296"/>
                <a:gd name="T49" fmla="*/ 32 h 482"/>
                <a:gd name="T50" fmla="*/ 16 w 296"/>
                <a:gd name="T51" fmla="*/ 36 h 482"/>
                <a:gd name="T52" fmla="*/ 7 w 296"/>
                <a:gd name="T53" fmla="*/ 44 h 482"/>
                <a:gd name="T54" fmla="*/ 4 w 296"/>
                <a:gd name="T55" fmla="*/ 57 h 482"/>
                <a:gd name="T56" fmla="*/ 4 w 296"/>
                <a:gd name="T57" fmla="*/ 71 h 482"/>
                <a:gd name="T58" fmla="*/ 13 w 296"/>
                <a:gd name="T59" fmla="*/ 99 h 482"/>
                <a:gd name="T60" fmla="*/ 5 w 296"/>
                <a:gd name="T61" fmla="*/ 110 h 482"/>
                <a:gd name="T62" fmla="*/ 0 w 296"/>
                <a:gd name="T63" fmla="*/ 121 h 482"/>
                <a:gd name="T64" fmla="*/ 0 w 296"/>
                <a:gd name="T65" fmla="*/ 133 h 482"/>
                <a:gd name="T66" fmla="*/ 4 w 296"/>
                <a:gd name="T67" fmla="*/ 158 h 482"/>
                <a:gd name="T68" fmla="*/ 9 w 296"/>
                <a:gd name="T69" fmla="*/ 167 h 482"/>
                <a:gd name="T70" fmla="*/ 15 w 296"/>
                <a:gd name="T71" fmla="*/ 175 h 482"/>
                <a:gd name="T72" fmla="*/ 20 w 296"/>
                <a:gd name="T73" fmla="*/ 199 h 482"/>
                <a:gd name="T74" fmla="*/ 31 w 296"/>
                <a:gd name="T75" fmla="*/ 217 h 482"/>
                <a:gd name="T76" fmla="*/ 43 w 296"/>
                <a:gd name="T77" fmla="*/ 230 h 482"/>
                <a:gd name="T78" fmla="*/ 56 w 296"/>
                <a:gd name="T79" fmla="*/ 238 h 482"/>
                <a:gd name="T80" fmla="*/ 43 w 296"/>
                <a:gd name="T81" fmla="*/ 274 h 482"/>
                <a:gd name="T82" fmla="*/ 42 w 296"/>
                <a:gd name="T83" fmla="*/ 287 h 482"/>
                <a:gd name="T84" fmla="*/ 61 w 296"/>
                <a:gd name="T85" fmla="*/ 302 h 482"/>
                <a:gd name="T86" fmla="*/ 73 w 296"/>
                <a:gd name="T87" fmla="*/ 318 h 482"/>
                <a:gd name="T88" fmla="*/ 79 w 296"/>
                <a:gd name="T89" fmla="*/ 332 h 482"/>
                <a:gd name="T90" fmla="*/ 81 w 296"/>
                <a:gd name="T91" fmla="*/ 482 h 482"/>
                <a:gd name="T92" fmla="*/ 289 w 296"/>
                <a:gd name="T93" fmla="*/ 481 h 482"/>
                <a:gd name="T94" fmla="*/ 295 w 296"/>
                <a:gd name="T95" fmla="*/ 474 h 482"/>
                <a:gd name="T96" fmla="*/ 296 w 296"/>
                <a:gd name="T97" fmla="*/ 334 h 482"/>
                <a:gd name="T98" fmla="*/ 293 w 296"/>
                <a:gd name="T99" fmla="*/ 323 h 482"/>
                <a:gd name="T100" fmla="*/ 278 w 296"/>
                <a:gd name="T101" fmla="*/ 312 h 482"/>
                <a:gd name="T102" fmla="*/ 217 w 296"/>
                <a:gd name="T103" fmla="*/ 291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96" h="482">
                  <a:moveTo>
                    <a:pt x="217" y="291"/>
                  </a:moveTo>
                  <a:lnTo>
                    <a:pt x="201" y="285"/>
                  </a:lnTo>
                  <a:lnTo>
                    <a:pt x="185" y="280"/>
                  </a:lnTo>
                  <a:lnTo>
                    <a:pt x="168" y="275"/>
                  </a:lnTo>
                  <a:lnTo>
                    <a:pt x="153" y="270"/>
                  </a:lnTo>
                  <a:lnTo>
                    <a:pt x="153" y="238"/>
                  </a:lnTo>
                  <a:lnTo>
                    <a:pt x="158" y="235"/>
                  </a:lnTo>
                  <a:lnTo>
                    <a:pt x="163" y="230"/>
                  </a:lnTo>
                  <a:lnTo>
                    <a:pt x="169" y="225"/>
                  </a:lnTo>
                  <a:lnTo>
                    <a:pt x="176" y="219"/>
                  </a:lnTo>
                  <a:lnTo>
                    <a:pt x="181" y="210"/>
                  </a:lnTo>
                  <a:lnTo>
                    <a:pt x="185" y="201"/>
                  </a:lnTo>
                  <a:lnTo>
                    <a:pt x="189" y="189"/>
                  </a:lnTo>
                  <a:lnTo>
                    <a:pt x="190" y="175"/>
                  </a:lnTo>
                  <a:lnTo>
                    <a:pt x="194" y="172"/>
                  </a:lnTo>
                  <a:lnTo>
                    <a:pt x="198" y="167"/>
                  </a:lnTo>
                  <a:lnTo>
                    <a:pt x="200" y="163"/>
                  </a:lnTo>
                  <a:lnTo>
                    <a:pt x="201" y="158"/>
                  </a:lnTo>
                  <a:lnTo>
                    <a:pt x="205" y="145"/>
                  </a:lnTo>
                  <a:lnTo>
                    <a:pt x="205" y="133"/>
                  </a:lnTo>
                  <a:lnTo>
                    <a:pt x="205" y="127"/>
                  </a:lnTo>
                  <a:lnTo>
                    <a:pt x="205" y="122"/>
                  </a:lnTo>
                  <a:lnTo>
                    <a:pt x="204" y="116"/>
                  </a:lnTo>
                  <a:lnTo>
                    <a:pt x="201" y="110"/>
                  </a:lnTo>
                  <a:lnTo>
                    <a:pt x="198" y="104"/>
                  </a:lnTo>
                  <a:lnTo>
                    <a:pt x="195" y="101"/>
                  </a:lnTo>
                  <a:lnTo>
                    <a:pt x="200" y="90"/>
                  </a:lnTo>
                  <a:lnTo>
                    <a:pt x="205" y="76"/>
                  </a:lnTo>
                  <a:lnTo>
                    <a:pt x="208" y="67"/>
                  </a:lnTo>
                  <a:lnTo>
                    <a:pt x="208" y="59"/>
                  </a:lnTo>
                  <a:lnTo>
                    <a:pt x="208" y="50"/>
                  </a:lnTo>
                  <a:lnTo>
                    <a:pt x="205" y="43"/>
                  </a:lnTo>
                  <a:lnTo>
                    <a:pt x="203" y="36"/>
                  </a:lnTo>
                  <a:lnTo>
                    <a:pt x="200" y="31"/>
                  </a:lnTo>
                  <a:lnTo>
                    <a:pt x="196" y="26"/>
                  </a:lnTo>
                  <a:lnTo>
                    <a:pt x="192" y="22"/>
                  </a:lnTo>
                  <a:lnTo>
                    <a:pt x="182" y="14"/>
                  </a:lnTo>
                  <a:lnTo>
                    <a:pt x="171" y="9"/>
                  </a:lnTo>
                  <a:lnTo>
                    <a:pt x="158" y="5"/>
                  </a:lnTo>
                  <a:lnTo>
                    <a:pt x="145" y="2"/>
                  </a:lnTo>
                  <a:lnTo>
                    <a:pt x="131" y="0"/>
                  </a:lnTo>
                  <a:lnTo>
                    <a:pt x="118" y="0"/>
                  </a:lnTo>
                  <a:lnTo>
                    <a:pt x="106" y="0"/>
                  </a:lnTo>
                  <a:lnTo>
                    <a:pt x="95" y="2"/>
                  </a:lnTo>
                  <a:lnTo>
                    <a:pt x="82" y="4"/>
                  </a:lnTo>
                  <a:lnTo>
                    <a:pt x="70" y="7"/>
                  </a:lnTo>
                  <a:lnTo>
                    <a:pt x="60" y="12"/>
                  </a:lnTo>
                  <a:lnTo>
                    <a:pt x="50" y="17"/>
                  </a:lnTo>
                  <a:lnTo>
                    <a:pt x="42" y="25"/>
                  </a:lnTo>
                  <a:lnTo>
                    <a:pt x="36" y="32"/>
                  </a:lnTo>
                  <a:lnTo>
                    <a:pt x="24" y="34"/>
                  </a:lnTo>
                  <a:lnTo>
                    <a:pt x="16" y="36"/>
                  </a:lnTo>
                  <a:lnTo>
                    <a:pt x="11" y="40"/>
                  </a:lnTo>
                  <a:lnTo>
                    <a:pt x="7" y="44"/>
                  </a:lnTo>
                  <a:lnTo>
                    <a:pt x="5" y="50"/>
                  </a:lnTo>
                  <a:lnTo>
                    <a:pt x="4" y="57"/>
                  </a:lnTo>
                  <a:lnTo>
                    <a:pt x="2" y="65"/>
                  </a:lnTo>
                  <a:lnTo>
                    <a:pt x="4" y="71"/>
                  </a:lnTo>
                  <a:lnTo>
                    <a:pt x="7" y="86"/>
                  </a:lnTo>
                  <a:lnTo>
                    <a:pt x="13" y="99"/>
                  </a:lnTo>
                  <a:lnTo>
                    <a:pt x="7" y="104"/>
                  </a:lnTo>
                  <a:lnTo>
                    <a:pt x="5" y="110"/>
                  </a:lnTo>
                  <a:lnTo>
                    <a:pt x="2" y="115"/>
                  </a:lnTo>
                  <a:lnTo>
                    <a:pt x="0" y="121"/>
                  </a:lnTo>
                  <a:lnTo>
                    <a:pt x="0" y="127"/>
                  </a:lnTo>
                  <a:lnTo>
                    <a:pt x="0" y="133"/>
                  </a:lnTo>
                  <a:lnTo>
                    <a:pt x="1" y="145"/>
                  </a:lnTo>
                  <a:lnTo>
                    <a:pt x="4" y="158"/>
                  </a:lnTo>
                  <a:lnTo>
                    <a:pt x="6" y="163"/>
                  </a:lnTo>
                  <a:lnTo>
                    <a:pt x="9" y="167"/>
                  </a:lnTo>
                  <a:lnTo>
                    <a:pt x="11" y="172"/>
                  </a:lnTo>
                  <a:lnTo>
                    <a:pt x="15" y="175"/>
                  </a:lnTo>
                  <a:lnTo>
                    <a:pt x="18" y="188"/>
                  </a:lnTo>
                  <a:lnTo>
                    <a:pt x="20" y="199"/>
                  </a:lnTo>
                  <a:lnTo>
                    <a:pt x="25" y="208"/>
                  </a:lnTo>
                  <a:lnTo>
                    <a:pt x="31" y="217"/>
                  </a:lnTo>
                  <a:lnTo>
                    <a:pt x="37" y="224"/>
                  </a:lnTo>
                  <a:lnTo>
                    <a:pt x="43" y="230"/>
                  </a:lnTo>
                  <a:lnTo>
                    <a:pt x="50" y="234"/>
                  </a:lnTo>
                  <a:lnTo>
                    <a:pt x="56" y="238"/>
                  </a:lnTo>
                  <a:lnTo>
                    <a:pt x="56" y="270"/>
                  </a:lnTo>
                  <a:lnTo>
                    <a:pt x="43" y="274"/>
                  </a:lnTo>
                  <a:lnTo>
                    <a:pt x="31" y="279"/>
                  </a:lnTo>
                  <a:lnTo>
                    <a:pt x="42" y="287"/>
                  </a:lnTo>
                  <a:lnTo>
                    <a:pt x="52" y="294"/>
                  </a:lnTo>
                  <a:lnTo>
                    <a:pt x="61" y="302"/>
                  </a:lnTo>
                  <a:lnTo>
                    <a:pt x="68" y="310"/>
                  </a:lnTo>
                  <a:lnTo>
                    <a:pt x="73" y="318"/>
                  </a:lnTo>
                  <a:lnTo>
                    <a:pt x="77" y="324"/>
                  </a:lnTo>
                  <a:lnTo>
                    <a:pt x="79" y="332"/>
                  </a:lnTo>
                  <a:lnTo>
                    <a:pt x="81" y="338"/>
                  </a:lnTo>
                  <a:lnTo>
                    <a:pt x="81" y="482"/>
                  </a:lnTo>
                  <a:lnTo>
                    <a:pt x="285" y="482"/>
                  </a:lnTo>
                  <a:lnTo>
                    <a:pt x="289" y="481"/>
                  </a:lnTo>
                  <a:lnTo>
                    <a:pt x="293" y="478"/>
                  </a:lnTo>
                  <a:lnTo>
                    <a:pt x="295" y="474"/>
                  </a:lnTo>
                  <a:lnTo>
                    <a:pt x="296" y="470"/>
                  </a:lnTo>
                  <a:lnTo>
                    <a:pt x="296" y="334"/>
                  </a:lnTo>
                  <a:lnTo>
                    <a:pt x="295" y="328"/>
                  </a:lnTo>
                  <a:lnTo>
                    <a:pt x="293" y="323"/>
                  </a:lnTo>
                  <a:lnTo>
                    <a:pt x="286" y="318"/>
                  </a:lnTo>
                  <a:lnTo>
                    <a:pt x="278" y="312"/>
                  </a:lnTo>
                  <a:lnTo>
                    <a:pt x="253" y="302"/>
                  </a:lnTo>
                  <a:lnTo>
                    <a:pt x="217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3678"/>
            <p:cNvSpPr>
              <a:spLocks/>
            </p:cNvSpPr>
            <p:nvPr/>
          </p:nvSpPr>
          <p:spPr bwMode="auto">
            <a:xfrm>
              <a:off x="9883775" y="5410200"/>
              <a:ext cx="190500" cy="225425"/>
            </a:xfrm>
            <a:custGeom>
              <a:avLst/>
              <a:gdLst>
                <a:gd name="T0" fmla="*/ 421 w 480"/>
                <a:gd name="T1" fmla="*/ 374 h 569"/>
                <a:gd name="T2" fmla="*/ 339 w 480"/>
                <a:gd name="T3" fmla="*/ 333 h 569"/>
                <a:gd name="T4" fmla="*/ 312 w 480"/>
                <a:gd name="T5" fmla="*/ 276 h 569"/>
                <a:gd name="T6" fmla="*/ 316 w 480"/>
                <a:gd name="T7" fmla="*/ 272 h 569"/>
                <a:gd name="T8" fmla="*/ 339 w 480"/>
                <a:gd name="T9" fmla="*/ 226 h 569"/>
                <a:gd name="T10" fmla="*/ 340 w 480"/>
                <a:gd name="T11" fmla="*/ 214 h 569"/>
                <a:gd name="T12" fmla="*/ 345 w 480"/>
                <a:gd name="T13" fmla="*/ 199 h 569"/>
                <a:gd name="T14" fmla="*/ 353 w 480"/>
                <a:gd name="T15" fmla="*/ 190 h 569"/>
                <a:gd name="T16" fmla="*/ 360 w 480"/>
                <a:gd name="T17" fmla="*/ 176 h 569"/>
                <a:gd name="T18" fmla="*/ 361 w 480"/>
                <a:gd name="T19" fmla="*/ 168 h 569"/>
                <a:gd name="T20" fmla="*/ 361 w 480"/>
                <a:gd name="T21" fmla="*/ 159 h 569"/>
                <a:gd name="T22" fmla="*/ 356 w 480"/>
                <a:gd name="T23" fmla="*/ 135 h 569"/>
                <a:gd name="T24" fmla="*/ 347 w 480"/>
                <a:gd name="T25" fmla="*/ 126 h 569"/>
                <a:gd name="T26" fmla="*/ 356 w 480"/>
                <a:gd name="T27" fmla="*/ 100 h 569"/>
                <a:gd name="T28" fmla="*/ 358 w 480"/>
                <a:gd name="T29" fmla="*/ 85 h 569"/>
                <a:gd name="T30" fmla="*/ 358 w 480"/>
                <a:gd name="T31" fmla="*/ 71 h 569"/>
                <a:gd name="T32" fmla="*/ 357 w 480"/>
                <a:gd name="T33" fmla="*/ 54 h 569"/>
                <a:gd name="T34" fmla="*/ 353 w 480"/>
                <a:gd name="T35" fmla="*/ 44 h 569"/>
                <a:gd name="T36" fmla="*/ 349 w 480"/>
                <a:gd name="T37" fmla="*/ 37 h 569"/>
                <a:gd name="T38" fmla="*/ 340 w 480"/>
                <a:gd name="T39" fmla="*/ 27 h 569"/>
                <a:gd name="T40" fmla="*/ 329 w 480"/>
                <a:gd name="T41" fmla="*/ 18 h 569"/>
                <a:gd name="T42" fmla="*/ 298 w 480"/>
                <a:gd name="T43" fmla="*/ 5 h 569"/>
                <a:gd name="T44" fmla="*/ 270 w 480"/>
                <a:gd name="T45" fmla="*/ 0 h 569"/>
                <a:gd name="T46" fmla="*/ 254 w 480"/>
                <a:gd name="T47" fmla="*/ 0 h 569"/>
                <a:gd name="T48" fmla="*/ 235 w 480"/>
                <a:gd name="T49" fmla="*/ 0 h 569"/>
                <a:gd name="T50" fmla="*/ 218 w 480"/>
                <a:gd name="T51" fmla="*/ 3 h 569"/>
                <a:gd name="T52" fmla="*/ 205 w 480"/>
                <a:gd name="T53" fmla="*/ 6 h 569"/>
                <a:gd name="T54" fmla="*/ 194 w 480"/>
                <a:gd name="T55" fmla="*/ 10 h 569"/>
                <a:gd name="T56" fmla="*/ 158 w 480"/>
                <a:gd name="T57" fmla="*/ 39 h 569"/>
                <a:gd name="T58" fmla="*/ 155 w 480"/>
                <a:gd name="T59" fmla="*/ 44 h 569"/>
                <a:gd name="T60" fmla="*/ 141 w 480"/>
                <a:gd name="T61" fmla="*/ 45 h 569"/>
                <a:gd name="T62" fmla="*/ 133 w 480"/>
                <a:gd name="T63" fmla="*/ 48 h 569"/>
                <a:gd name="T64" fmla="*/ 127 w 480"/>
                <a:gd name="T65" fmla="*/ 51 h 569"/>
                <a:gd name="T66" fmla="*/ 123 w 480"/>
                <a:gd name="T67" fmla="*/ 57 h 569"/>
                <a:gd name="T68" fmla="*/ 119 w 480"/>
                <a:gd name="T69" fmla="*/ 66 h 569"/>
                <a:gd name="T70" fmla="*/ 118 w 480"/>
                <a:gd name="T71" fmla="*/ 73 h 569"/>
                <a:gd name="T72" fmla="*/ 118 w 480"/>
                <a:gd name="T73" fmla="*/ 82 h 569"/>
                <a:gd name="T74" fmla="*/ 121 w 480"/>
                <a:gd name="T75" fmla="*/ 91 h 569"/>
                <a:gd name="T76" fmla="*/ 122 w 480"/>
                <a:gd name="T77" fmla="*/ 100 h 569"/>
                <a:gd name="T78" fmla="*/ 126 w 480"/>
                <a:gd name="T79" fmla="*/ 108 h 569"/>
                <a:gd name="T80" fmla="*/ 132 w 480"/>
                <a:gd name="T81" fmla="*/ 125 h 569"/>
                <a:gd name="T82" fmla="*/ 118 w 480"/>
                <a:gd name="T83" fmla="*/ 145 h 569"/>
                <a:gd name="T84" fmla="*/ 117 w 480"/>
                <a:gd name="T85" fmla="*/ 166 h 569"/>
                <a:gd name="T86" fmla="*/ 118 w 480"/>
                <a:gd name="T87" fmla="*/ 171 h 569"/>
                <a:gd name="T88" fmla="*/ 119 w 480"/>
                <a:gd name="T89" fmla="*/ 177 h 569"/>
                <a:gd name="T90" fmla="*/ 132 w 480"/>
                <a:gd name="T91" fmla="*/ 199 h 569"/>
                <a:gd name="T92" fmla="*/ 136 w 480"/>
                <a:gd name="T93" fmla="*/ 202 h 569"/>
                <a:gd name="T94" fmla="*/ 137 w 480"/>
                <a:gd name="T95" fmla="*/ 220 h 569"/>
                <a:gd name="T96" fmla="*/ 151 w 480"/>
                <a:gd name="T97" fmla="*/ 258 h 569"/>
                <a:gd name="T98" fmla="*/ 168 w 480"/>
                <a:gd name="T99" fmla="*/ 312 h 569"/>
                <a:gd name="T100" fmla="*/ 86 w 480"/>
                <a:gd name="T101" fmla="*/ 358 h 569"/>
                <a:gd name="T102" fmla="*/ 18 w 480"/>
                <a:gd name="T103" fmla="*/ 401 h 569"/>
                <a:gd name="T104" fmla="*/ 0 w 480"/>
                <a:gd name="T105" fmla="*/ 421 h 569"/>
                <a:gd name="T106" fmla="*/ 2 w 480"/>
                <a:gd name="T107" fmla="*/ 565 h 569"/>
                <a:gd name="T108" fmla="*/ 469 w 480"/>
                <a:gd name="T109" fmla="*/ 569 h 569"/>
                <a:gd name="T110" fmla="*/ 479 w 480"/>
                <a:gd name="T111" fmla="*/ 421 h 569"/>
                <a:gd name="T112" fmla="*/ 449 w 480"/>
                <a:gd name="T113" fmla="*/ 390 h 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80" h="569">
                  <a:moveTo>
                    <a:pt x="425" y="375"/>
                  </a:moveTo>
                  <a:lnTo>
                    <a:pt x="425" y="375"/>
                  </a:lnTo>
                  <a:lnTo>
                    <a:pt x="424" y="375"/>
                  </a:lnTo>
                  <a:lnTo>
                    <a:pt x="421" y="374"/>
                  </a:lnTo>
                  <a:lnTo>
                    <a:pt x="419" y="372"/>
                  </a:lnTo>
                  <a:lnTo>
                    <a:pt x="393" y="358"/>
                  </a:lnTo>
                  <a:lnTo>
                    <a:pt x="366" y="345"/>
                  </a:lnTo>
                  <a:lnTo>
                    <a:pt x="339" y="333"/>
                  </a:lnTo>
                  <a:lnTo>
                    <a:pt x="312" y="321"/>
                  </a:lnTo>
                  <a:lnTo>
                    <a:pt x="312" y="312"/>
                  </a:lnTo>
                  <a:lnTo>
                    <a:pt x="312" y="281"/>
                  </a:lnTo>
                  <a:lnTo>
                    <a:pt x="312" y="276"/>
                  </a:lnTo>
                  <a:lnTo>
                    <a:pt x="313" y="275"/>
                  </a:lnTo>
                  <a:lnTo>
                    <a:pt x="316" y="272"/>
                  </a:lnTo>
                  <a:lnTo>
                    <a:pt x="316" y="272"/>
                  </a:lnTo>
                  <a:lnTo>
                    <a:pt x="316" y="272"/>
                  </a:lnTo>
                  <a:lnTo>
                    <a:pt x="322" y="266"/>
                  </a:lnTo>
                  <a:lnTo>
                    <a:pt x="329" y="256"/>
                  </a:lnTo>
                  <a:lnTo>
                    <a:pt x="334" y="243"/>
                  </a:lnTo>
                  <a:lnTo>
                    <a:pt x="339" y="226"/>
                  </a:lnTo>
                  <a:lnTo>
                    <a:pt x="339" y="223"/>
                  </a:lnTo>
                  <a:lnTo>
                    <a:pt x="340" y="220"/>
                  </a:lnTo>
                  <a:lnTo>
                    <a:pt x="340" y="217"/>
                  </a:lnTo>
                  <a:lnTo>
                    <a:pt x="340" y="214"/>
                  </a:lnTo>
                  <a:lnTo>
                    <a:pt x="342" y="208"/>
                  </a:lnTo>
                  <a:lnTo>
                    <a:pt x="342" y="202"/>
                  </a:lnTo>
                  <a:lnTo>
                    <a:pt x="344" y="202"/>
                  </a:lnTo>
                  <a:lnTo>
                    <a:pt x="345" y="199"/>
                  </a:lnTo>
                  <a:lnTo>
                    <a:pt x="345" y="199"/>
                  </a:lnTo>
                  <a:lnTo>
                    <a:pt x="345" y="199"/>
                  </a:lnTo>
                  <a:lnTo>
                    <a:pt x="349" y="195"/>
                  </a:lnTo>
                  <a:lnTo>
                    <a:pt x="353" y="190"/>
                  </a:lnTo>
                  <a:lnTo>
                    <a:pt x="357" y="184"/>
                  </a:lnTo>
                  <a:lnTo>
                    <a:pt x="358" y="177"/>
                  </a:lnTo>
                  <a:lnTo>
                    <a:pt x="358" y="176"/>
                  </a:lnTo>
                  <a:lnTo>
                    <a:pt x="360" y="176"/>
                  </a:lnTo>
                  <a:lnTo>
                    <a:pt x="360" y="173"/>
                  </a:lnTo>
                  <a:lnTo>
                    <a:pt x="360" y="171"/>
                  </a:lnTo>
                  <a:lnTo>
                    <a:pt x="361" y="170"/>
                  </a:lnTo>
                  <a:lnTo>
                    <a:pt x="361" y="168"/>
                  </a:lnTo>
                  <a:lnTo>
                    <a:pt x="361" y="167"/>
                  </a:lnTo>
                  <a:lnTo>
                    <a:pt x="361" y="164"/>
                  </a:lnTo>
                  <a:lnTo>
                    <a:pt x="361" y="162"/>
                  </a:lnTo>
                  <a:lnTo>
                    <a:pt x="361" y="159"/>
                  </a:lnTo>
                  <a:lnTo>
                    <a:pt x="361" y="152"/>
                  </a:lnTo>
                  <a:lnTo>
                    <a:pt x="360" y="145"/>
                  </a:lnTo>
                  <a:lnTo>
                    <a:pt x="358" y="140"/>
                  </a:lnTo>
                  <a:lnTo>
                    <a:pt x="356" y="135"/>
                  </a:lnTo>
                  <a:lnTo>
                    <a:pt x="356" y="135"/>
                  </a:lnTo>
                  <a:lnTo>
                    <a:pt x="356" y="135"/>
                  </a:lnTo>
                  <a:lnTo>
                    <a:pt x="351" y="130"/>
                  </a:lnTo>
                  <a:lnTo>
                    <a:pt x="347" y="126"/>
                  </a:lnTo>
                  <a:lnTo>
                    <a:pt x="348" y="122"/>
                  </a:lnTo>
                  <a:lnTo>
                    <a:pt x="349" y="117"/>
                  </a:lnTo>
                  <a:lnTo>
                    <a:pt x="353" y="109"/>
                  </a:lnTo>
                  <a:lnTo>
                    <a:pt x="356" y="100"/>
                  </a:lnTo>
                  <a:lnTo>
                    <a:pt x="356" y="100"/>
                  </a:lnTo>
                  <a:lnTo>
                    <a:pt x="356" y="100"/>
                  </a:lnTo>
                  <a:lnTo>
                    <a:pt x="357" y="92"/>
                  </a:lnTo>
                  <a:lnTo>
                    <a:pt x="358" y="85"/>
                  </a:lnTo>
                  <a:lnTo>
                    <a:pt x="358" y="85"/>
                  </a:lnTo>
                  <a:lnTo>
                    <a:pt x="358" y="85"/>
                  </a:lnTo>
                  <a:lnTo>
                    <a:pt x="358" y="77"/>
                  </a:lnTo>
                  <a:lnTo>
                    <a:pt x="358" y="71"/>
                  </a:lnTo>
                  <a:lnTo>
                    <a:pt x="358" y="69"/>
                  </a:lnTo>
                  <a:lnTo>
                    <a:pt x="358" y="68"/>
                  </a:lnTo>
                  <a:lnTo>
                    <a:pt x="358" y="60"/>
                  </a:lnTo>
                  <a:lnTo>
                    <a:pt x="357" y="54"/>
                  </a:lnTo>
                  <a:lnTo>
                    <a:pt x="356" y="51"/>
                  </a:lnTo>
                  <a:lnTo>
                    <a:pt x="354" y="48"/>
                  </a:lnTo>
                  <a:lnTo>
                    <a:pt x="353" y="46"/>
                  </a:lnTo>
                  <a:lnTo>
                    <a:pt x="353" y="44"/>
                  </a:lnTo>
                  <a:lnTo>
                    <a:pt x="352" y="42"/>
                  </a:lnTo>
                  <a:lnTo>
                    <a:pt x="352" y="42"/>
                  </a:lnTo>
                  <a:lnTo>
                    <a:pt x="351" y="40"/>
                  </a:lnTo>
                  <a:lnTo>
                    <a:pt x="349" y="37"/>
                  </a:lnTo>
                  <a:lnTo>
                    <a:pt x="349" y="37"/>
                  </a:lnTo>
                  <a:lnTo>
                    <a:pt x="349" y="37"/>
                  </a:lnTo>
                  <a:lnTo>
                    <a:pt x="344" y="32"/>
                  </a:lnTo>
                  <a:lnTo>
                    <a:pt x="340" y="27"/>
                  </a:lnTo>
                  <a:lnTo>
                    <a:pt x="335" y="22"/>
                  </a:lnTo>
                  <a:lnTo>
                    <a:pt x="329" y="18"/>
                  </a:lnTo>
                  <a:lnTo>
                    <a:pt x="329" y="18"/>
                  </a:lnTo>
                  <a:lnTo>
                    <a:pt x="329" y="18"/>
                  </a:lnTo>
                  <a:lnTo>
                    <a:pt x="326" y="17"/>
                  </a:lnTo>
                  <a:lnTo>
                    <a:pt x="324" y="15"/>
                  </a:lnTo>
                  <a:lnTo>
                    <a:pt x="311" y="9"/>
                  </a:lnTo>
                  <a:lnTo>
                    <a:pt x="298" y="5"/>
                  </a:lnTo>
                  <a:lnTo>
                    <a:pt x="284" y="3"/>
                  </a:lnTo>
                  <a:lnTo>
                    <a:pt x="270" y="0"/>
                  </a:lnTo>
                  <a:lnTo>
                    <a:pt x="270" y="0"/>
                  </a:lnTo>
                  <a:lnTo>
                    <a:pt x="270" y="0"/>
                  </a:lnTo>
                  <a:lnTo>
                    <a:pt x="266" y="0"/>
                  </a:lnTo>
                  <a:lnTo>
                    <a:pt x="262" y="0"/>
                  </a:lnTo>
                  <a:lnTo>
                    <a:pt x="258" y="0"/>
                  </a:lnTo>
                  <a:lnTo>
                    <a:pt x="254" y="0"/>
                  </a:lnTo>
                  <a:lnTo>
                    <a:pt x="247" y="0"/>
                  </a:lnTo>
                  <a:lnTo>
                    <a:pt x="239" y="0"/>
                  </a:lnTo>
                  <a:lnTo>
                    <a:pt x="238" y="0"/>
                  </a:lnTo>
                  <a:lnTo>
                    <a:pt x="235" y="0"/>
                  </a:lnTo>
                  <a:lnTo>
                    <a:pt x="231" y="1"/>
                  </a:lnTo>
                  <a:lnTo>
                    <a:pt x="226" y="1"/>
                  </a:lnTo>
                  <a:lnTo>
                    <a:pt x="222" y="3"/>
                  </a:lnTo>
                  <a:lnTo>
                    <a:pt x="218" y="3"/>
                  </a:lnTo>
                  <a:lnTo>
                    <a:pt x="216" y="4"/>
                  </a:lnTo>
                  <a:lnTo>
                    <a:pt x="214" y="4"/>
                  </a:lnTo>
                  <a:lnTo>
                    <a:pt x="209" y="5"/>
                  </a:lnTo>
                  <a:lnTo>
                    <a:pt x="205" y="6"/>
                  </a:lnTo>
                  <a:lnTo>
                    <a:pt x="200" y="8"/>
                  </a:lnTo>
                  <a:lnTo>
                    <a:pt x="196" y="9"/>
                  </a:lnTo>
                  <a:lnTo>
                    <a:pt x="195" y="10"/>
                  </a:lnTo>
                  <a:lnTo>
                    <a:pt x="194" y="10"/>
                  </a:lnTo>
                  <a:lnTo>
                    <a:pt x="184" y="15"/>
                  </a:lnTo>
                  <a:lnTo>
                    <a:pt x="173" y="23"/>
                  </a:lnTo>
                  <a:lnTo>
                    <a:pt x="166" y="30"/>
                  </a:lnTo>
                  <a:lnTo>
                    <a:pt x="158" y="39"/>
                  </a:lnTo>
                  <a:lnTo>
                    <a:pt x="158" y="39"/>
                  </a:lnTo>
                  <a:lnTo>
                    <a:pt x="158" y="39"/>
                  </a:lnTo>
                  <a:lnTo>
                    <a:pt x="157" y="41"/>
                  </a:lnTo>
                  <a:lnTo>
                    <a:pt x="155" y="44"/>
                  </a:lnTo>
                  <a:lnTo>
                    <a:pt x="151" y="44"/>
                  </a:lnTo>
                  <a:lnTo>
                    <a:pt x="148" y="44"/>
                  </a:lnTo>
                  <a:lnTo>
                    <a:pt x="144" y="44"/>
                  </a:lnTo>
                  <a:lnTo>
                    <a:pt x="141" y="45"/>
                  </a:lnTo>
                  <a:lnTo>
                    <a:pt x="140" y="45"/>
                  </a:lnTo>
                  <a:lnTo>
                    <a:pt x="139" y="45"/>
                  </a:lnTo>
                  <a:lnTo>
                    <a:pt x="136" y="46"/>
                  </a:lnTo>
                  <a:lnTo>
                    <a:pt x="133" y="48"/>
                  </a:lnTo>
                  <a:lnTo>
                    <a:pt x="132" y="49"/>
                  </a:lnTo>
                  <a:lnTo>
                    <a:pt x="131" y="49"/>
                  </a:lnTo>
                  <a:lnTo>
                    <a:pt x="128" y="50"/>
                  </a:lnTo>
                  <a:lnTo>
                    <a:pt x="127" y="51"/>
                  </a:lnTo>
                  <a:lnTo>
                    <a:pt x="127" y="53"/>
                  </a:lnTo>
                  <a:lnTo>
                    <a:pt x="126" y="53"/>
                  </a:lnTo>
                  <a:lnTo>
                    <a:pt x="125" y="54"/>
                  </a:lnTo>
                  <a:lnTo>
                    <a:pt x="123" y="57"/>
                  </a:lnTo>
                  <a:lnTo>
                    <a:pt x="121" y="60"/>
                  </a:lnTo>
                  <a:lnTo>
                    <a:pt x="119" y="63"/>
                  </a:lnTo>
                  <a:lnTo>
                    <a:pt x="119" y="64"/>
                  </a:lnTo>
                  <a:lnTo>
                    <a:pt x="119" y="66"/>
                  </a:lnTo>
                  <a:lnTo>
                    <a:pt x="119" y="68"/>
                  </a:lnTo>
                  <a:lnTo>
                    <a:pt x="118" y="72"/>
                  </a:lnTo>
                  <a:lnTo>
                    <a:pt x="118" y="72"/>
                  </a:lnTo>
                  <a:lnTo>
                    <a:pt x="118" y="73"/>
                  </a:lnTo>
                  <a:lnTo>
                    <a:pt x="118" y="77"/>
                  </a:lnTo>
                  <a:lnTo>
                    <a:pt x="118" y="80"/>
                  </a:lnTo>
                  <a:lnTo>
                    <a:pt x="118" y="81"/>
                  </a:lnTo>
                  <a:lnTo>
                    <a:pt x="118" y="82"/>
                  </a:lnTo>
                  <a:lnTo>
                    <a:pt x="119" y="86"/>
                  </a:lnTo>
                  <a:lnTo>
                    <a:pt x="119" y="89"/>
                  </a:lnTo>
                  <a:lnTo>
                    <a:pt x="119" y="90"/>
                  </a:lnTo>
                  <a:lnTo>
                    <a:pt x="121" y="91"/>
                  </a:lnTo>
                  <a:lnTo>
                    <a:pt x="121" y="95"/>
                  </a:lnTo>
                  <a:lnTo>
                    <a:pt x="122" y="99"/>
                  </a:lnTo>
                  <a:lnTo>
                    <a:pt x="122" y="99"/>
                  </a:lnTo>
                  <a:lnTo>
                    <a:pt x="122" y="100"/>
                  </a:lnTo>
                  <a:lnTo>
                    <a:pt x="123" y="104"/>
                  </a:lnTo>
                  <a:lnTo>
                    <a:pt x="126" y="108"/>
                  </a:lnTo>
                  <a:lnTo>
                    <a:pt x="126" y="108"/>
                  </a:lnTo>
                  <a:lnTo>
                    <a:pt x="126" y="108"/>
                  </a:lnTo>
                  <a:lnTo>
                    <a:pt x="128" y="117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27" y="128"/>
                  </a:lnTo>
                  <a:lnTo>
                    <a:pt x="123" y="135"/>
                  </a:lnTo>
                  <a:lnTo>
                    <a:pt x="121" y="140"/>
                  </a:lnTo>
                  <a:lnTo>
                    <a:pt x="118" y="145"/>
                  </a:lnTo>
                  <a:lnTo>
                    <a:pt x="117" y="152"/>
                  </a:lnTo>
                  <a:lnTo>
                    <a:pt x="117" y="159"/>
                  </a:lnTo>
                  <a:lnTo>
                    <a:pt x="117" y="162"/>
                  </a:lnTo>
                  <a:lnTo>
                    <a:pt x="117" y="166"/>
                  </a:lnTo>
                  <a:lnTo>
                    <a:pt x="117" y="167"/>
                  </a:lnTo>
                  <a:lnTo>
                    <a:pt x="117" y="170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8" y="175"/>
                  </a:lnTo>
                  <a:lnTo>
                    <a:pt x="119" y="177"/>
                  </a:lnTo>
                  <a:lnTo>
                    <a:pt x="119" y="177"/>
                  </a:lnTo>
                  <a:lnTo>
                    <a:pt x="119" y="177"/>
                  </a:lnTo>
                  <a:lnTo>
                    <a:pt x="121" y="184"/>
                  </a:lnTo>
                  <a:lnTo>
                    <a:pt x="125" y="190"/>
                  </a:lnTo>
                  <a:lnTo>
                    <a:pt x="128" y="195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3" y="202"/>
                  </a:lnTo>
                  <a:lnTo>
                    <a:pt x="136" y="202"/>
                  </a:lnTo>
                  <a:lnTo>
                    <a:pt x="136" y="209"/>
                  </a:lnTo>
                  <a:lnTo>
                    <a:pt x="137" y="216"/>
                  </a:lnTo>
                  <a:lnTo>
                    <a:pt x="137" y="217"/>
                  </a:lnTo>
                  <a:lnTo>
                    <a:pt x="137" y="220"/>
                  </a:lnTo>
                  <a:lnTo>
                    <a:pt x="140" y="231"/>
                  </a:lnTo>
                  <a:lnTo>
                    <a:pt x="144" y="241"/>
                  </a:lnTo>
                  <a:lnTo>
                    <a:pt x="146" y="250"/>
                  </a:lnTo>
                  <a:lnTo>
                    <a:pt x="151" y="258"/>
                  </a:lnTo>
                  <a:lnTo>
                    <a:pt x="159" y="268"/>
                  </a:lnTo>
                  <a:lnTo>
                    <a:pt x="168" y="276"/>
                  </a:lnTo>
                  <a:lnTo>
                    <a:pt x="168" y="281"/>
                  </a:lnTo>
                  <a:lnTo>
                    <a:pt x="168" y="312"/>
                  </a:lnTo>
                  <a:lnTo>
                    <a:pt x="168" y="321"/>
                  </a:lnTo>
                  <a:lnTo>
                    <a:pt x="141" y="333"/>
                  </a:lnTo>
                  <a:lnTo>
                    <a:pt x="113" y="345"/>
                  </a:lnTo>
                  <a:lnTo>
                    <a:pt x="86" y="358"/>
                  </a:lnTo>
                  <a:lnTo>
                    <a:pt x="62" y="372"/>
                  </a:lnTo>
                  <a:lnTo>
                    <a:pt x="46" y="381"/>
                  </a:lnTo>
                  <a:lnTo>
                    <a:pt x="33" y="389"/>
                  </a:lnTo>
                  <a:lnTo>
                    <a:pt x="18" y="401"/>
                  </a:lnTo>
                  <a:lnTo>
                    <a:pt x="8" y="410"/>
                  </a:lnTo>
                  <a:lnTo>
                    <a:pt x="4" y="415"/>
                  </a:lnTo>
                  <a:lnTo>
                    <a:pt x="1" y="419"/>
                  </a:lnTo>
                  <a:lnTo>
                    <a:pt x="0" y="421"/>
                  </a:lnTo>
                  <a:lnTo>
                    <a:pt x="0" y="425"/>
                  </a:lnTo>
                  <a:lnTo>
                    <a:pt x="0" y="557"/>
                  </a:lnTo>
                  <a:lnTo>
                    <a:pt x="0" y="561"/>
                  </a:lnTo>
                  <a:lnTo>
                    <a:pt x="2" y="565"/>
                  </a:lnTo>
                  <a:lnTo>
                    <a:pt x="6" y="568"/>
                  </a:lnTo>
                  <a:lnTo>
                    <a:pt x="11" y="569"/>
                  </a:lnTo>
                  <a:lnTo>
                    <a:pt x="348" y="569"/>
                  </a:lnTo>
                  <a:lnTo>
                    <a:pt x="469" y="569"/>
                  </a:lnTo>
                  <a:lnTo>
                    <a:pt x="480" y="569"/>
                  </a:lnTo>
                  <a:lnTo>
                    <a:pt x="480" y="557"/>
                  </a:lnTo>
                  <a:lnTo>
                    <a:pt x="480" y="425"/>
                  </a:lnTo>
                  <a:lnTo>
                    <a:pt x="479" y="421"/>
                  </a:lnTo>
                  <a:lnTo>
                    <a:pt x="476" y="416"/>
                  </a:lnTo>
                  <a:lnTo>
                    <a:pt x="473" y="411"/>
                  </a:lnTo>
                  <a:lnTo>
                    <a:pt x="466" y="405"/>
                  </a:lnTo>
                  <a:lnTo>
                    <a:pt x="449" y="390"/>
                  </a:lnTo>
                  <a:lnTo>
                    <a:pt x="425" y="3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3" name="Group 72"/>
          <p:cNvGrpSpPr/>
          <p:nvPr/>
        </p:nvGrpSpPr>
        <p:grpSpPr>
          <a:xfrm>
            <a:off x="6780961" y="4767091"/>
            <a:ext cx="458878" cy="529026"/>
            <a:chOff x="896938" y="1943100"/>
            <a:chExt cx="249237" cy="287338"/>
          </a:xfrm>
          <a:solidFill>
            <a:schemeClr val="bg1"/>
          </a:solidFill>
          <a:effectLst/>
        </p:grpSpPr>
        <p:sp>
          <p:nvSpPr>
            <p:cNvPr id="74" name="Freeform 1088"/>
            <p:cNvSpPr>
              <a:spLocks noEditPoints="1"/>
            </p:cNvSpPr>
            <p:nvPr/>
          </p:nvSpPr>
          <p:spPr bwMode="auto">
            <a:xfrm>
              <a:off x="965200" y="1943100"/>
              <a:ext cx="180975" cy="249238"/>
            </a:xfrm>
            <a:custGeom>
              <a:avLst/>
              <a:gdLst>
                <a:gd name="T0" fmla="*/ 301 w 457"/>
                <a:gd name="T1" fmla="*/ 156 h 626"/>
                <a:gd name="T2" fmla="*/ 301 w 457"/>
                <a:gd name="T3" fmla="*/ 12 h 626"/>
                <a:gd name="T4" fmla="*/ 446 w 457"/>
                <a:gd name="T5" fmla="*/ 156 h 626"/>
                <a:gd name="T6" fmla="*/ 301 w 457"/>
                <a:gd name="T7" fmla="*/ 156 h 626"/>
                <a:gd name="T8" fmla="*/ 454 w 457"/>
                <a:gd name="T9" fmla="*/ 148 h 626"/>
                <a:gd name="T10" fmla="*/ 309 w 457"/>
                <a:gd name="T11" fmla="*/ 3 h 626"/>
                <a:gd name="T12" fmla="*/ 305 w 457"/>
                <a:gd name="T13" fmla="*/ 1 h 626"/>
                <a:gd name="T14" fmla="*/ 301 w 457"/>
                <a:gd name="T15" fmla="*/ 0 h 626"/>
                <a:gd name="T16" fmla="*/ 12 w 457"/>
                <a:gd name="T17" fmla="*/ 0 h 626"/>
                <a:gd name="T18" fmla="*/ 7 w 457"/>
                <a:gd name="T19" fmla="*/ 1 h 626"/>
                <a:gd name="T20" fmla="*/ 3 w 457"/>
                <a:gd name="T21" fmla="*/ 4 h 626"/>
                <a:gd name="T22" fmla="*/ 1 w 457"/>
                <a:gd name="T23" fmla="*/ 7 h 626"/>
                <a:gd name="T24" fmla="*/ 0 w 457"/>
                <a:gd name="T25" fmla="*/ 12 h 626"/>
                <a:gd name="T26" fmla="*/ 0 w 457"/>
                <a:gd name="T27" fmla="*/ 72 h 626"/>
                <a:gd name="T28" fmla="*/ 118 w 457"/>
                <a:gd name="T29" fmla="*/ 72 h 626"/>
                <a:gd name="T30" fmla="*/ 122 w 457"/>
                <a:gd name="T31" fmla="*/ 74 h 626"/>
                <a:gd name="T32" fmla="*/ 127 w 457"/>
                <a:gd name="T33" fmla="*/ 76 h 626"/>
                <a:gd name="T34" fmla="*/ 286 w 457"/>
                <a:gd name="T35" fmla="*/ 235 h 626"/>
                <a:gd name="T36" fmla="*/ 288 w 457"/>
                <a:gd name="T37" fmla="*/ 239 h 626"/>
                <a:gd name="T38" fmla="*/ 289 w 457"/>
                <a:gd name="T39" fmla="*/ 244 h 626"/>
                <a:gd name="T40" fmla="*/ 289 w 457"/>
                <a:gd name="T41" fmla="*/ 626 h 626"/>
                <a:gd name="T42" fmla="*/ 446 w 457"/>
                <a:gd name="T43" fmla="*/ 626 h 626"/>
                <a:gd name="T44" fmla="*/ 450 w 457"/>
                <a:gd name="T45" fmla="*/ 625 h 626"/>
                <a:gd name="T46" fmla="*/ 454 w 457"/>
                <a:gd name="T47" fmla="*/ 623 h 626"/>
                <a:gd name="T48" fmla="*/ 457 w 457"/>
                <a:gd name="T49" fmla="*/ 619 h 626"/>
                <a:gd name="T50" fmla="*/ 457 w 457"/>
                <a:gd name="T51" fmla="*/ 614 h 626"/>
                <a:gd name="T52" fmla="*/ 457 w 457"/>
                <a:gd name="T53" fmla="*/ 156 h 626"/>
                <a:gd name="T54" fmla="*/ 457 w 457"/>
                <a:gd name="T55" fmla="*/ 152 h 626"/>
                <a:gd name="T56" fmla="*/ 454 w 457"/>
                <a:gd name="T57" fmla="*/ 148 h 6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57" h="626">
                  <a:moveTo>
                    <a:pt x="301" y="156"/>
                  </a:moveTo>
                  <a:lnTo>
                    <a:pt x="301" y="12"/>
                  </a:lnTo>
                  <a:lnTo>
                    <a:pt x="446" y="156"/>
                  </a:lnTo>
                  <a:lnTo>
                    <a:pt x="301" y="156"/>
                  </a:lnTo>
                  <a:close/>
                  <a:moveTo>
                    <a:pt x="454" y="148"/>
                  </a:moveTo>
                  <a:lnTo>
                    <a:pt x="309" y="3"/>
                  </a:lnTo>
                  <a:lnTo>
                    <a:pt x="305" y="1"/>
                  </a:lnTo>
                  <a:lnTo>
                    <a:pt x="301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4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72"/>
                  </a:lnTo>
                  <a:lnTo>
                    <a:pt x="118" y="72"/>
                  </a:lnTo>
                  <a:lnTo>
                    <a:pt x="122" y="74"/>
                  </a:lnTo>
                  <a:lnTo>
                    <a:pt x="127" y="76"/>
                  </a:lnTo>
                  <a:lnTo>
                    <a:pt x="286" y="235"/>
                  </a:lnTo>
                  <a:lnTo>
                    <a:pt x="288" y="239"/>
                  </a:lnTo>
                  <a:lnTo>
                    <a:pt x="289" y="244"/>
                  </a:lnTo>
                  <a:lnTo>
                    <a:pt x="289" y="626"/>
                  </a:lnTo>
                  <a:lnTo>
                    <a:pt x="446" y="626"/>
                  </a:lnTo>
                  <a:lnTo>
                    <a:pt x="450" y="625"/>
                  </a:lnTo>
                  <a:lnTo>
                    <a:pt x="454" y="623"/>
                  </a:lnTo>
                  <a:lnTo>
                    <a:pt x="457" y="619"/>
                  </a:lnTo>
                  <a:lnTo>
                    <a:pt x="457" y="614"/>
                  </a:lnTo>
                  <a:lnTo>
                    <a:pt x="457" y="156"/>
                  </a:lnTo>
                  <a:lnTo>
                    <a:pt x="457" y="152"/>
                  </a:lnTo>
                  <a:lnTo>
                    <a:pt x="454" y="1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5" name="Freeform 1089"/>
            <p:cNvSpPr>
              <a:spLocks noEditPoints="1"/>
            </p:cNvSpPr>
            <p:nvPr/>
          </p:nvSpPr>
          <p:spPr bwMode="auto">
            <a:xfrm>
              <a:off x="896938" y="1981200"/>
              <a:ext cx="173038" cy="249238"/>
            </a:xfrm>
            <a:custGeom>
              <a:avLst/>
              <a:gdLst>
                <a:gd name="T0" fmla="*/ 277 w 434"/>
                <a:gd name="T1" fmla="*/ 157 h 627"/>
                <a:gd name="T2" fmla="*/ 277 w 434"/>
                <a:gd name="T3" fmla="*/ 12 h 627"/>
                <a:gd name="T4" fmla="*/ 422 w 434"/>
                <a:gd name="T5" fmla="*/ 157 h 627"/>
                <a:gd name="T6" fmla="*/ 277 w 434"/>
                <a:gd name="T7" fmla="*/ 157 h 627"/>
                <a:gd name="T8" fmla="*/ 277 w 434"/>
                <a:gd name="T9" fmla="*/ 0 h 627"/>
                <a:gd name="T10" fmla="*/ 12 w 434"/>
                <a:gd name="T11" fmla="*/ 0 h 627"/>
                <a:gd name="T12" fmla="*/ 8 w 434"/>
                <a:gd name="T13" fmla="*/ 1 h 627"/>
                <a:gd name="T14" fmla="*/ 4 w 434"/>
                <a:gd name="T15" fmla="*/ 4 h 627"/>
                <a:gd name="T16" fmla="*/ 1 w 434"/>
                <a:gd name="T17" fmla="*/ 8 h 627"/>
                <a:gd name="T18" fmla="*/ 0 w 434"/>
                <a:gd name="T19" fmla="*/ 12 h 627"/>
                <a:gd name="T20" fmla="*/ 0 w 434"/>
                <a:gd name="T21" fmla="*/ 615 h 627"/>
                <a:gd name="T22" fmla="*/ 1 w 434"/>
                <a:gd name="T23" fmla="*/ 620 h 627"/>
                <a:gd name="T24" fmla="*/ 4 w 434"/>
                <a:gd name="T25" fmla="*/ 623 h 627"/>
                <a:gd name="T26" fmla="*/ 8 w 434"/>
                <a:gd name="T27" fmla="*/ 626 h 627"/>
                <a:gd name="T28" fmla="*/ 12 w 434"/>
                <a:gd name="T29" fmla="*/ 627 h 627"/>
                <a:gd name="T30" fmla="*/ 422 w 434"/>
                <a:gd name="T31" fmla="*/ 627 h 627"/>
                <a:gd name="T32" fmla="*/ 426 w 434"/>
                <a:gd name="T33" fmla="*/ 626 h 627"/>
                <a:gd name="T34" fmla="*/ 430 w 434"/>
                <a:gd name="T35" fmla="*/ 623 h 627"/>
                <a:gd name="T36" fmla="*/ 433 w 434"/>
                <a:gd name="T37" fmla="*/ 620 h 627"/>
                <a:gd name="T38" fmla="*/ 434 w 434"/>
                <a:gd name="T39" fmla="*/ 615 h 627"/>
                <a:gd name="T40" fmla="*/ 434 w 434"/>
                <a:gd name="T41" fmla="*/ 157 h 627"/>
                <a:gd name="T42" fmla="*/ 434 w 434"/>
                <a:gd name="T43" fmla="*/ 152 h 627"/>
                <a:gd name="T44" fmla="*/ 282 w 434"/>
                <a:gd name="T45" fmla="*/ 0 h 627"/>
                <a:gd name="T46" fmla="*/ 277 w 434"/>
                <a:gd name="T47" fmla="*/ 0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34" h="627">
                  <a:moveTo>
                    <a:pt x="277" y="157"/>
                  </a:moveTo>
                  <a:lnTo>
                    <a:pt x="277" y="12"/>
                  </a:lnTo>
                  <a:lnTo>
                    <a:pt x="422" y="157"/>
                  </a:lnTo>
                  <a:lnTo>
                    <a:pt x="277" y="157"/>
                  </a:lnTo>
                  <a:close/>
                  <a:moveTo>
                    <a:pt x="277" y="0"/>
                  </a:moveTo>
                  <a:lnTo>
                    <a:pt x="12" y="0"/>
                  </a:lnTo>
                  <a:lnTo>
                    <a:pt x="8" y="1"/>
                  </a:lnTo>
                  <a:lnTo>
                    <a:pt x="4" y="4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615"/>
                  </a:lnTo>
                  <a:lnTo>
                    <a:pt x="1" y="620"/>
                  </a:lnTo>
                  <a:lnTo>
                    <a:pt x="4" y="623"/>
                  </a:lnTo>
                  <a:lnTo>
                    <a:pt x="8" y="626"/>
                  </a:lnTo>
                  <a:lnTo>
                    <a:pt x="12" y="627"/>
                  </a:lnTo>
                  <a:lnTo>
                    <a:pt x="422" y="627"/>
                  </a:lnTo>
                  <a:lnTo>
                    <a:pt x="426" y="626"/>
                  </a:lnTo>
                  <a:lnTo>
                    <a:pt x="430" y="623"/>
                  </a:lnTo>
                  <a:lnTo>
                    <a:pt x="433" y="620"/>
                  </a:lnTo>
                  <a:lnTo>
                    <a:pt x="434" y="615"/>
                  </a:lnTo>
                  <a:lnTo>
                    <a:pt x="434" y="157"/>
                  </a:lnTo>
                  <a:lnTo>
                    <a:pt x="434" y="152"/>
                  </a:lnTo>
                  <a:lnTo>
                    <a:pt x="282" y="0"/>
                  </a:lnTo>
                  <a:lnTo>
                    <a:pt x="27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90" name="Text Placeholder 2"/>
          <p:cNvSpPr txBox="1">
            <a:spLocks/>
          </p:cNvSpPr>
          <p:nvPr/>
        </p:nvSpPr>
        <p:spPr>
          <a:xfrm>
            <a:off x="730249" y="4369921"/>
            <a:ext cx="160769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ct val="100000"/>
              </a:lnSpc>
              <a:spcBef>
                <a:spcPts val="0"/>
              </a:spcBef>
            </a:pPr>
            <a:r>
              <a:rPr lang="en-US" sz="1600" dirty="0" err="1">
                <a:solidFill>
                  <a:srgbClr val="B0F7F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ongo_dart</a:t>
            </a:r>
            <a:endParaRPr lang="en-US" sz="1600" dirty="0">
              <a:solidFill>
                <a:srgbClr val="B0F7F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91" name="Text Placeholder 2"/>
          <p:cNvSpPr txBox="1">
            <a:spLocks/>
          </p:cNvSpPr>
          <p:nvPr/>
        </p:nvSpPr>
        <p:spPr>
          <a:xfrm>
            <a:off x="730249" y="4746425"/>
            <a:ext cx="1609725" cy="8494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ts val="1700"/>
              </a:lnSpc>
              <a:spcBef>
                <a:spcPts val="0"/>
              </a:spcBef>
            </a:pP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buah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Package yang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gunakan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untuk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ngambil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ata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ri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atabase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ngodb</a:t>
            </a:r>
            <a:endParaRPr lang="en-US" dirty="0">
              <a:solidFill>
                <a:srgbClr val="B0F7F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2" name="Text Placeholder 2"/>
          <p:cNvSpPr txBox="1">
            <a:spLocks/>
          </p:cNvSpPr>
          <p:nvPr/>
        </p:nvSpPr>
        <p:spPr>
          <a:xfrm>
            <a:off x="4381941" y="4369921"/>
            <a:ext cx="160769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ct val="100000"/>
              </a:lnSpc>
              <a:spcBef>
                <a:spcPts val="0"/>
              </a:spcBef>
            </a:pPr>
            <a:r>
              <a:rPr lang="en-US" sz="1600" dirty="0" err="1">
                <a:solidFill>
                  <a:srgbClr val="B0F7F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ggered_View</a:t>
            </a:r>
            <a:endParaRPr lang="en-US" sz="1600" dirty="0">
              <a:solidFill>
                <a:srgbClr val="B0F7F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93" name="Text Placeholder 2"/>
          <p:cNvSpPr txBox="1">
            <a:spLocks/>
          </p:cNvSpPr>
          <p:nvPr/>
        </p:nvSpPr>
        <p:spPr>
          <a:xfrm>
            <a:off x="4379913" y="4746425"/>
            <a:ext cx="1609725" cy="10674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mbuat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buah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mpilan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grid dan list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hingga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membuat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mpilan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njadi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bih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agus</a:t>
            </a:r>
            <a:endParaRPr lang="en-US" dirty="0">
              <a:solidFill>
                <a:srgbClr val="B0F7F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4" name="Text Placeholder 2"/>
          <p:cNvSpPr txBox="1">
            <a:spLocks/>
          </p:cNvSpPr>
          <p:nvPr/>
        </p:nvSpPr>
        <p:spPr>
          <a:xfrm>
            <a:off x="7930479" y="4369920"/>
            <a:ext cx="173787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solidFill>
                  <a:srgbClr val="B0F7F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isual Studio Code</a:t>
            </a:r>
          </a:p>
        </p:txBody>
      </p:sp>
      <p:sp>
        <p:nvSpPr>
          <p:cNvPr id="95" name="Text Placeholder 2"/>
          <p:cNvSpPr txBox="1">
            <a:spLocks/>
          </p:cNvSpPr>
          <p:nvPr/>
        </p:nvSpPr>
        <p:spPr>
          <a:xfrm>
            <a:off x="8031163" y="4746425"/>
            <a:ext cx="1609725" cy="8494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ts val="1700"/>
              </a:lnSpc>
              <a:spcBef>
                <a:spcPts val="0"/>
              </a:spcBef>
            </a:pP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buah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code editor yang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gunakan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untuk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ngedit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engan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erforma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yang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epat</a:t>
            </a:r>
            <a:endParaRPr lang="en-US" dirty="0">
              <a:solidFill>
                <a:srgbClr val="B0F7F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57613" y="2397942"/>
            <a:ext cx="9292354" cy="1443229"/>
            <a:chOff x="2357613" y="2425291"/>
            <a:chExt cx="9292354" cy="1443229"/>
          </a:xfrm>
        </p:grpSpPr>
        <p:sp>
          <p:nvSpPr>
            <p:cNvPr id="96" name="Text Placeholder 2"/>
            <p:cNvSpPr txBox="1">
              <a:spLocks/>
            </p:cNvSpPr>
            <p:nvPr/>
          </p:nvSpPr>
          <p:spPr>
            <a:xfrm>
              <a:off x="2357613" y="2527209"/>
              <a:ext cx="1877607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>
                <a:lnSpc>
                  <a:spcPct val="100000"/>
                </a:lnSpc>
                <a:spcBef>
                  <a:spcPts val="0"/>
                </a:spcBef>
              </a:pPr>
              <a:r>
                <a:rPr lang="en-US" sz="1400" dirty="0" err="1">
                  <a:solidFill>
                    <a:srgbClr val="B0F7F4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urved_Navigation_Bar</a:t>
              </a:r>
              <a:endParaRPr lang="en-US" sz="1400" dirty="0">
                <a:solidFill>
                  <a:srgbClr val="B0F7F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97" name="Text Placeholder 2"/>
            <p:cNvSpPr txBox="1">
              <a:spLocks/>
            </p:cNvSpPr>
            <p:nvPr/>
          </p:nvSpPr>
          <p:spPr>
            <a:xfrm>
              <a:off x="2554288" y="2801048"/>
              <a:ext cx="1609725" cy="63145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buah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nimasi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bottom navigation untuk </a:t>
              </a: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ngganti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screen </a:t>
              </a:r>
            </a:p>
          </p:txBody>
        </p:sp>
        <p:sp>
          <p:nvSpPr>
            <p:cNvPr id="98" name="Text Placeholder 2"/>
            <p:cNvSpPr txBox="1">
              <a:spLocks/>
            </p:cNvSpPr>
            <p:nvPr/>
          </p:nvSpPr>
          <p:spPr>
            <a:xfrm>
              <a:off x="6205978" y="2425291"/>
              <a:ext cx="1607697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>
                <a:lnSpc>
                  <a:spcPct val="100000"/>
                </a:lnSpc>
                <a:spcBef>
                  <a:spcPts val="0"/>
                </a:spcBef>
              </a:pPr>
              <a:r>
                <a:rPr lang="en-US" sz="1600" dirty="0">
                  <a:solidFill>
                    <a:srgbClr val="B0F7F4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rovider</a:t>
              </a:r>
            </a:p>
          </p:txBody>
        </p:sp>
        <p:sp>
          <p:nvSpPr>
            <p:cNvPr id="99" name="Text Placeholder 2"/>
            <p:cNvSpPr txBox="1">
              <a:spLocks/>
            </p:cNvSpPr>
            <p:nvPr/>
          </p:nvSpPr>
          <p:spPr>
            <a:xfrm>
              <a:off x="6203950" y="2801048"/>
              <a:ext cx="1609725" cy="106747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>
                <a:lnSpc>
                  <a:spcPts val="1700"/>
                </a:lnSpc>
                <a:spcBef>
                  <a:spcPts val="0"/>
                </a:spcBef>
              </a:pPr>
              <a:r>
                <a:rPr lang="sv-SE" b="0" i="0" dirty="0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Provider menyediakan sebuah teknik mengolah state yang dapat digunakan memanage data didalam aplikasi.</a:t>
              </a:r>
              <a:endPara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0" name="Text Placeholder 2"/>
            <p:cNvSpPr txBox="1">
              <a:spLocks/>
            </p:cNvSpPr>
            <p:nvPr/>
          </p:nvSpPr>
          <p:spPr>
            <a:xfrm>
              <a:off x="9857228" y="2425291"/>
              <a:ext cx="1607697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>
                <a:lnSpc>
                  <a:spcPct val="100000"/>
                </a:lnSpc>
                <a:spcBef>
                  <a:spcPts val="0"/>
                </a:spcBef>
              </a:pPr>
              <a:r>
                <a:rPr lang="en-US" sz="1600" dirty="0">
                  <a:solidFill>
                    <a:srgbClr val="B0F7F4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lutter</a:t>
              </a:r>
            </a:p>
          </p:txBody>
        </p:sp>
        <p:sp>
          <p:nvSpPr>
            <p:cNvPr id="101" name="Text Placeholder 2"/>
            <p:cNvSpPr txBox="1">
              <a:spLocks/>
            </p:cNvSpPr>
            <p:nvPr/>
          </p:nvSpPr>
          <p:spPr>
            <a:xfrm>
              <a:off x="9864393" y="2692531"/>
              <a:ext cx="1785574" cy="106747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>
                <a:lnSpc>
                  <a:spcPts val="1700"/>
                </a:lnSpc>
                <a:spcBef>
                  <a:spcPts val="0"/>
                </a:spcBef>
              </a:pPr>
              <a:r>
                <a:rPr lang="en-GB" b="0" i="0" dirty="0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framework </a:t>
              </a:r>
              <a:r>
                <a:rPr lang="en-GB" b="0" i="0" dirty="0" err="1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aplikasi</a:t>
              </a:r>
              <a:r>
                <a:rPr lang="en-GB" b="0" i="0" dirty="0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 mobile. </a:t>
              </a:r>
              <a:r>
                <a:rPr lang="en-GB" b="1" i="0" dirty="0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Flutter</a:t>
              </a:r>
              <a:r>
                <a:rPr lang="en-GB" b="0" i="0" dirty="0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 </a:t>
              </a:r>
              <a:r>
                <a:rPr lang="en-GB" b="0" i="0" dirty="0" err="1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digunakan</a:t>
              </a:r>
              <a:r>
                <a:rPr lang="en-GB" b="0" i="0" dirty="0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GB" b="0" i="0" dirty="0" err="1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dalam</a:t>
              </a:r>
              <a:r>
                <a:rPr lang="en-GB" b="0" i="0" dirty="0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GB" b="0" i="0" dirty="0" err="1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pengembangan</a:t>
              </a:r>
              <a:r>
                <a:rPr lang="en-GB" b="0" i="0" dirty="0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GB" b="0" i="0" dirty="0" err="1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aplikasi</a:t>
              </a:r>
              <a:r>
                <a:rPr lang="en-GB" b="0" i="0" dirty="0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GB" b="0" i="0" dirty="0" err="1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untuk</a:t>
              </a:r>
              <a:r>
                <a:rPr lang="en-GB" b="0" i="0" dirty="0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GB" b="0" i="0" dirty="0" err="1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istem</a:t>
              </a:r>
              <a:r>
                <a:rPr lang="en-GB" b="0" i="0" dirty="0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GB" b="0" i="0" dirty="0" err="1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operasi</a:t>
              </a:r>
              <a:r>
                <a:rPr lang="en-GB" b="0" i="0" dirty="0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 </a:t>
              </a:r>
              <a:r>
                <a:rPr lang="en-GB" b="1" i="0" dirty="0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Android</a:t>
              </a:r>
              <a:endPara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7193" name="Freeform 10">
            <a:extLst>
              <a:ext uri="{FF2B5EF4-FFF2-40B4-BE49-F238E27FC236}">
                <a16:creationId xmlns:a16="http://schemas.microsoft.com/office/drawing/2014/main" id="{AF25FCC1-7B6C-3F35-0489-3A6A3B76BE11}"/>
              </a:ext>
            </a:extLst>
          </p:cNvPr>
          <p:cNvSpPr>
            <a:spLocks/>
          </p:cNvSpPr>
          <p:nvPr/>
        </p:nvSpPr>
        <p:spPr bwMode="auto">
          <a:xfrm>
            <a:off x="7248525" y="3337804"/>
            <a:ext cx="1344613" cy="1346200"/>
          </a:xfrm>
          <a:custGeom>
            <a:avLst/>
            <a:gdLst>
              <a:gd name="T0" fmla="*/ 348 w 847"/>
              <a:gd name="T1" fmla="*/ 424 h 848"/>
              <a:gd name="T2" fmla="*/ 459 w 847"/>
              <a:gd name="T3" fmla="*/ 0 h 848"/>
              <a:gd name="T4" fmla="*/ 653 w 847"/>
              <a:gd name="T5" fmla="*/ 195 h 848"/>
              <a:gd name="T6" fmla="*/ 847 w 847"/>
              <a:gd name="T7" fmla="*/ 389 h 848"/>
              <a:gd name="T8" fmla="*/ 423 w 847"/>
              <a:gd name="T9" fmla="*/ 500 h 848"/>
              <a:gd name="T10" fmla="*/ 234 w 847"/>
              <a:gd name="T11" fmla="*/ 848 h 848"/>
              <a:gd name="T12" fmla="*/ 118 w 847"/>
              <a:gd name="T13" fmla="*/ 730 h 848"/>
              <a:gd name="T14" fmla="*/ 0 w 847"/>
              <a:gd name="T15" fmla="*/ 612 h 848"/>
              <a:gd name="T16" fmla="*/ 348 w 847"/>
              <a:gd name="T17" fmla="*/ 424 h 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47" h="848">
                <a:moveTo>
                  <a:pt x="348" y="424"/>
                </a:moveTo>
                <a:lnTo>
                  <a:pt x="459" y="0"/>
                </a:lnTo>
                <a:lnTo>
                  <a:pt x="653" y="195"/>
                </a:lnTo>
                <a:lnTo>
                  <a:pt x="847" y="389"/>
                </a:lnTo>
                <a:lnTo>
                  <a:pt x="423" y="500"/>
                </a:lnTo>
                <a:lnTo>
                  <a:pt x="234" y="848"/>
                </a:lnTo>
                <a:lnTo>
                  <a:pt x="118" y="730"/>
                </a:lnTo>
                <a:lnTo>
                  <a:pt x="0" y="612"/>
                </a:lnTo>
                <a:lnTo>
                  <a:pt x="348" y="424"/>
                </a:lnTo>
                <a:close/>
              </a:path>
            </a:pathLst>
          </a:custGeom>
          <a:gradFill flip="none" rotWithShape="1">
            <a:gsLst>
              <a:gs pos="51000">
                <a:srgbClr val="69AFC0"/>
              </a:gs>
              <a:gs pos="0">
                <a:srgbClr val="125680"/>
              </a:gs>
              <a:gs pos="96000">
                <a:srgbClr val="125680"/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12" name="Group 111"/>
          <p:cNvGrpSpPr/>
          <p:nvPr/>
        </p:nvGrpSpPr>
        <p:grpSpPr>
          <a:xfrm>
            <a:off x="1535112" y="4005286"/>
            <a:ext cx="7300913" cy="189920"/>
            <a:chOff x="1535112" y="4005286"/>
            <a:chExt cx="7300913" cy="189920"/>
          </a:xfrm>
        </p:grpSpPr>
        <p:cxnSp>
          <p:nvCxnSpPr>
            <p:cNvPr id="106" name="Straight Connector 105"/>
            <p:cNvCxnSpPr/>
            <p:nvPr/>
          </p:nvCxnSpPr>
          <p:spPr>
            <a:xfrm>
              <a:off x="1535112" y="4005286"/>
              <a:ext cx="0" cy="189920"/>
            </a:xfrm>
            <a:prstGeom prst="line">
              <a:avLst/>
            </a:prstGeom>
            <a:ln>
              <a:solidFill>
                <a:srgbClr val="B0F7F4"/>
              </a:solidFill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/>
          </p:nvCxnSpPr>
          <p:spPr>
            <a:xfrm>
              <a:off x="5186363" y="4005286"/>
              <a:ext cx="0" cy="189920"/>
            </a:xfrm>
            <a:prstGeom prst="line">
              <a:avLst/>
            </a:prstGeom>
            <a:ln>
              <a:solidFill>
                <a:srgbClr val="B0F7F4"/>
              </a:solidFill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/>
            <p:nvPr/>
          </p:nvCxnSpPr>
          <p:spPr>
            <a:xfrm>
              <a:off x="8836025" y="4005286"/>
              <a:ext cx="0" cy="189920"/>
            </a:xfrm>
            <a:prstGeom prst="line">
              <a:avLst/>
            </a:prstGeom>
            <a:ln>
              <a:solidFill>
                <a:srgbClr val="B0F7F4"/>
              </a:solidFill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170" name="Picture 2" descr="How to get started with MongoDB in 10 minutes | by Navindu Jayatilake |  We've moved to freeCodeCamp.org/news | Medium">
            <a:extLst>
              <a:ext uri="{FF2B5EF4-FFF2-40B4-BE49-F238E27FC236}">
                <a16:creationId xmlns:a16="http://schemas.microsoft.com/office/drawing/2014/main" id="{99BE63C4-CA9A-63E0-A18E-FAAEA29868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281" y="2586023"/>
            <a:ext cx="1057950" cy="1057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95" name="Freeform 13">
            <a:extLst>
              <a:ext uri="{FF2B5EF4-FFF2-40B4-BE49-F238E27FC236}">
                <a16:creationId xmlns:a16="http://schemas.microsoft.com/office/drawing/2014/main" id="{2475EDCE-17EB-715C-F2C3-470CF66DC1EE}"/>
              </a:ext>
            </a:extLst>
          </p:cNvPr>
          <p:cNvSpPr>
            <a:spLocks/>
          </p:cNvSpPr>
          <p:nvPr/>
        </p:nvSpPr>
        <p:spPr bwMode="auto">
          <a:xfrm>
            <a:off x="13674353" y="633207"/>
            <a:ext cx="198587" cy="255857"/>
          </a:xfrm>
          <a:custGeom>
            <a:avLst/>
            <a:gdLst>
              <a:gd name="T0" fmla="*/ 1012 w 1012"/>
              <a:gd name="T1" fmla="*/ 507 h 1014"/>
              <a:gd name="T2" fmla="*/ 506 w 1012"/>
              <a:gd name="T3" fmla="*/ 1014 h 1014"/>
              <a:gd name="T4" fmla="*/ 0 w 1012"/>
              <a:gd name="T5" fmla="*/ 507 h 1014"/>
              <a:gd name="T6" fmla="*/ 506 w 1012"/>
              <a:gd name="T7" fmla="*/ 0 h 1014"/>
              <a:gd name="T8" fmla="*/ 1012 w 1012"/>
              <a:gd name="T9" fmla="*/ 507 h 10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2" h="1014">
                <a:moveTo>
                  <a:pt x="1012" y="507"/>
                </a:moveTo>
                <a:lnTo>
                  <a:pt x="506" y="1014"/>
                </a:lnTo>
                <a:lnTo>
                  <a:pt x="0" y="507"/>
                </a:lnTo>
                <a:lnTo>
                  <a:pt x="506" y="0"/>
                </a:lnTo>
                <a:lnTo>
                  <a:pt x="1012" y="507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pic>
        <p:nvPicPr>
          <p:cNvPr id="7197" name="Picture 4" descr="Visual Studio Code - Wikipedia bahasa Indonesia, ensiklopedia bebas">
            <a:extLst>
              <a:ext uri="{FF2B5EF4-FFF2-40B4-BE49-F238E27FC236}">
                <a16:creationId xmlns:a16="http://schemas.microsoft.com/office/drawing/2014/main" id="{D8257622-11CE-1C6F-DBFC-3E9F65ED20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6414" y="2643416"/>
            <a:ext cx="1090042" cy="1090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98" name="Picture 6" descr="Starter Kit Belajar Flutter Yang Wajib Kamu Miliki - Eudeka!">
            <a:extLst>
              <a:ext uri="{FF2B5EF4-FFF2-40B4-BE49-F238E27FC236}">
                <a16:creationId xmlns:a16="http://schemas.microsoft.com/office/drawing/2014/main" id="{D2B2ECE4-7C7D-0C0C-F60A-2380FCF6CF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0072" y="4545709"/>
            <a:ext cx="973384" cy="973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26665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ChangeArrowheads="1"/>
          </p:cNvSpPr>
          <p:nvPr/>
        </p:nvSpPr>
        <p:spPr bwMode="auto">
          <a:xfrm>
            <a:off x="1" y="0"/>
            <a:ext cx="12192000" cy="6858000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1" name="Oval 60"/>
          <p:cNvSpPr/>
          <p:nvPr/>
        </p:nvSpPr>
        <p:spPr>
          <a:xfrm rot="20407134">
            <a:off x="378109" y="4261052"/>
            <a:ext cx="7954307" cy="1035771"/>
          </a:xfrm>
          <a:prstGeom prst="ellipse">
            <a:avLst/>
          </a:prstGeom>
          <a:gradFill flip="none" rotWithShape="1">
            <a:gsLst>
              <a:gs pos="0">
                <a:srgbClr val="070C1E">
                  <a:alpha val="41000"/>
                </a:srgbClr>
              </a:gs>
              <a:gs pos="100000">
                <a:srgbClr val="070C1E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4" name="Group 63"/>
          <p:cNvGrpSpPr/>
          <p:nvPr/>
        </p:nvGrpSpPr>
        <p:grpSpPr>
          <a:xfrm>
            <a:off x="961489" y="1523998"/>
            <a:ext cx="6788255" cy="4519971"/>
            <a:chOff x="2304063" y="1248229"/>
            <a:chExt cx="7393151" cy="4922742"/>
          </a:xfrm>
        </p:grpSpPr>
        <p:sp>
          <p:nvSpPr>
            <p:cNvPr id="62" name="Oval 61"/>
            <p:cNvSpPr/>
            <p:nvPr/>
          </p:nvSpPr>
          <p:spPr>
            <a:xfrm>
              <a:off x="2304063" y="5155278"/>
              <a:ext cx="3020539" cy="1015693"/>
            </a:xfrm>
            <a:prstGeom prst="ellipse">
              <a:avLst/>
            </a:prstGeom>
            <a:gradFill flip="none" rotWithShape="1">
              <a:gsLst>
                <a:gs pos="0">
                  <a:srgbClr val="070C1E">
                    <a:alpha val="82000"/>
                  </a:srgbClr>
                </a:gs>
                <a:gs pos="100000">
                  <a:srgbClr val="070C1E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3"/>
            <p:cNvGrpSpPr>
              <a:grpSpLocks noChangeAspect="1"/>
            </p:cNvGrpSpPr>
            <p:nvPr/>
          </p:nvGrpSpPr>
          <p:grpSpPr bwMode="auto">
            <a:xfrm>
              <a:off x="2494788" y="1248229"/>
              <a:ext cx="7202426" cy="4735738"/>
              <a:chOff x="961" y="266"/>
              <a:chExt cx="5758" cy="3786"/>
            </a:xfrm>
          </p:grpSpPr>
          <p:sp>
            <p:nvSpPr>
              <p:cNvPr id="35" name="Freeform 34"/>
              <p:cNvSpPr>
                <a:spLocks/>
              </p:cNvSpPr>
              <p:nvPr/>
            </p:nvSpPr>
            <p:spPr bwMode="auto">
              <a:xfrm>
                <a:off x="4868" y="266"/>
                <a:ext cx="397" cy="310"/>
              </a:xfrm>
              <a:custGeom>
                <a:avLst/>
                <a:gdLst>
                  <a:gd name="T0" fmla="*/ 397 w 397"/>
                  <a:gd name="T1" fmla="*/ 154 h 310"/>
                  <a:gd name="T2" fmla="*/ 0 w 397"/>
                  <a:gd name="T3" fmla="*/ 0 h 310"/>
                  <a:gd name="T4" fmla="*/ 0 w 397"/>
                  <a:gd name="T5" fmla="*/ 154 h 310"/>
                  <a:gd name="T6" fmla="*/ 397 w 397"/>
                  <a:gd name="T7" fmla="*/ 310 h 310"/>
                  <a:gd name="T8" fmla="*/ 397 w 397"/>
                  <a:gd name="T9" fmla="*/ 154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7" h="310">
                    <a:moveTo>
                      <a:pt x="397" y="154"/>
                    </a:moveTo>
                    <a:lnTo>
                      <a:pt x="0" y="0"/>
                    </a:lnTo>
                    <a:lnTo>
                      <a:pt x="0" y="154"/>
                    </a:lnTo>
                    <a:lnTo>
                      <a:pt x="397" y="310"/>
                    </a:lnTo>
                    <a:lnTo>
                      <a:pt x="397" y="154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B0F7F4"/>
                  </a:gs>
                  <a:gs pos="0">
                    <a:srgbClr val="125680"/>
                  </a:gs>
                </a:gsLst>
                <a:lin ang="81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35"/>
              <p:cNvSpPr>
                <a:spLocks/>
              </p:cNvSpPr>
              <p:nvPr/>
            </p:nvSpPr>
            <p:spPr bwMode="auto">
              <a:xfrm>
                <a:off x="961" y="3058"/>
                <a:ext cx="2145" cy="840"/>
              </a:xfrm>
              <a:custGeom>
                <a:avLst/>
                <a:gdLst>
                  <a:gd name="T0" fmla="*/ 1071 w 2145"/>
                  <a:gd name="T1" fmla="*/ 0 h 840"/>
                  <a:gd name="T2" fmla="*/ 0 w 2145"/>
                  <a:gd name="T3" fmla="*/ 419 h 840"/>
                  <a:gd name="T4" fmla="*/ 1071 w 2145"/>
                  <a:gd name="T5" fmla="*/ 840 h 840"/>
                  <a:gd name="T6" fmla="*/ 2145 w 2145"/>
                  <a:gd name="T7" fmla="*/ 419 h 840"/>
                  <a:gd name="T8" fmla="*/ 1071 w 2145"/>
                  <a:gd name="T9" fmla="*/ 0 h 8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5" h="840">
                    <a:moveTo>
                      <a:pt x="1071" y="0"/>
                    </a:moveTo>
                    <a:lnTo>
                      <a:pt x="0" y="419"/>
                    </a:lnTo>
                    <a:lnTo>
                      <a:pt x="1071" y="840"/>
                    </a:lnTo>
                    <a:lnTo>
                      <a:pt x="2145" y="419"/>
                    </a:lnTo>
                    <a:lnTo>
                      <a:pt x="1071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F6443B"/>
                  </a:gs>
                  <a:gs pos="0">
                    <a:srgbClr val="F9857F"/>
                  </a:gs>
                </a:gsLst>
                <a:lin ang="108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36"/>
              <p:cNvSpPr>
                <a:spLocks/>
              </p:cNvSpPr>
              <p:nvPr/>
            </p:nvSpPr>
            <p:spPr bwMode="auto">
              <a:xfrm>
                <a:off x="961" y="3477"/>
                <a:ext cx="1071" cy="575"/>
              </a:xfrm>
              <a:custGeom>
                <a:avLst/>
                <a:gdLst>
                  <a:gd name="T0" fmla="*/ 1071 w 1071"/>
                  <a:gd name="T1" fmla="*/ 575 h 575"/>
                  <a:gd name="T2" fmla="*/ 0 w 1071"/>
                  <a:gd name="T3" fmla="*/ 156 h 575"/>
                  <a:gd name="T4" fmla="*/ 0 w 1071"/>
                  <a:gd name="T5" fmla="*/ 0 h 575"/>
                  <a:gd name="T6" fmla="*/ 1071 w 1071"/>
                  <a:gd name="T7" fmla="*/ 421 h 575"/>
                  <a:gd name="T8" fmla="*/ 1071 w 1071"/>
                  <a:gd name="T9" fmla="*/ 575 h 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1" h="575">
                    <a:moveTo>
                      <a:pt x="1071" y="575"/>
                    </a:moveTo>
                    <a:lnTo>
                      <a:pt x="0" y="156"/>
                    </a:lnTo>
                    <a:lnTo>
                      <a:pt x="0" y="0"/>
                    </a:lnTo>
                    <a:lnTo>
                      <a:pt x="1071" y="421"/>
                    </a:lnTo>
                    <a:lnTo>
                      <a:pt x="1071" y="575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682832"/>
                  </a:gs>
                  <a:gs pos="100000">
                    <a:srgbClr val="F6443B"/>
                  </a:gs>
                </a:gsLst>
                <a:lin ang="81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37"/>
              <p:cNvSpPr>
                <a:spLocks/>
              </p:cNvSpPr>
              <p:nvPr/>
            </p:nvSpPr>
            <p:spPr bwMode="auto">
              <a:xfrm>
                <a:off x="2032" y="2178"/>
                <a:ext cx="2145" cy="837"/>
              </a:xfrm>
              <a:custGeom>
                <a:avLst/>
                <a:gdLst>
                  <a:gd name="T0" fmla="*/ 1074 w 2145"/>
                  <a:gd name="T1" fmla="*/ 0 h 837"/>
                  <a:gd name="T2" fmla="*/ 0 w 2145"/>
                  <a:gd name="T3" fmla="*/ 419 h 837"/>
                  <a:gd name="T4" fmla="*/ 1074 w 2145"/>
                  <a:gd name="T5" fmla="*/ 837 h 837"/>
                  <a:gd name="T6" fmla="*/ 2145 w 2145"/>
                  <a:gd name="T7" fmla="*/ 419 h 837"/>
                  <a:gd name="T8" fmla="*/ 1074 w 2145"/>
                  <a:gd name="T9" fmla="*/ 0 h 8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5" h="837">
                    <a:moveTo>
                      <a:pt x="1074" y="0"/>
                    </a:moveTo>
                    <a:lnTo>
                      <a:pt x="0" y="419"/>
                    </a:lnTo>
                    <a:lnTo>
                      <a:pt x="1074" y="837"/>
                    </a:lnTo>
                    <a:lnTo>
                      <a:pt x="2145" y="419"/>
                    </a:lnTo>
                    <a:lnTo>
                      <a:pt x="1074" y="0"/>
                    </a:lnTo>
                    <a:close/>
                  </a:path>
                </a:pathLst>
              </a:custGeom>
              <a:gradFill flip="none" rotWithShape="1">
                <a:gsLst>
                  <a:gs pos="22000">
                    <a:srgbClr val="E1FCFB"/>
                  </a:gs>
                  <a:gs pos="100000">
                    <a:srgbClr val="B0F7F4"/>
                  </a:gs>
                  <a:gs pos="0">
                    <a:schemeClr val="bg1"/>
                  </a:gs>
                </a:gsLst>
                <a:lin ang="81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38"/>
              <p:cNvSpPr>
                <a:spLocks/>
              </p:cNvSpPr>
              <p:nvPr/>
            </p:nvSpPr>
            <p:spPr bwMode="auto">
              <a:xfrm>
                <a:off x="2032" y="2597"/>
                <a:ext cx="1074" cy="575"/>
              </a:xfrm>
              <a:custGeom>
                <a:avLst/>
                <a:gdLst>
                  <a:gd name="T0" fmla="*/ 1074 w 1074"/>
                  <a:gd name="T1" fmla="*/ 575 h 575"/>
                  <a:gd name="T2" fmla="*/ 0 w 1074"/>
                  <a:gd name="T3" fmla="*/ 156 h 575"/>
                  <a:gd name="T4" fmla="*/ 0 w 1074"/>
                  <a:gd name="T5" fmla="*/ 0 h 575"/>
                  <a:gd name="T6" fmla="*/ 1074 w 1074"/>
                  <a:gd name="T7" fmla="*/ 418 h 575"/>
                  <a:gd name="T8" fmla="*/ 1074 w 1074"/>
                  <a:gd name="T9" fmla="*/ 575 h 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4" h="575">
                    <a:moveTo>
                      <a:pt x="1074" y="575"/>
                    </a:moveTo>
                    <a:lnTo>
                      <a:pt x="0" y="156"/>
                    </a:lnTo>
                    <a:lnTo>
                      <a:pt x="0" y="0"/>
                    </a:lnTo>
                    <a:lnTo>
                      <a:pt x="1074" y="418"/>
                    </a:lnTo>
                    <a:lnTo>
                      <a:pt x="1074" y="575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125680"/>
                  </a:gs>
                  <a:gs pos="0">
                    <a:srgbClr val="B0F7F4"/>
                  </a:gs>
                </a:gsLst>
                <a:lin ang="81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39"/>
              <p:cNvSpPr>
                <a:spLocks/>
              </p:cNvSpPr>
              <p:nvPr/>
            </p:nvSpPr>
            <p:spPr bwMode="auto">
              <a:xfrm>
                <a:off x="2032" y="3117"/>
                <a:ext cx="1213" cy="935"/>
              </a:xfrm>
              <a:custGeom>
                <a:avLst/>
                <a:gdLst>
                  <a:gd name="T0" fmla="*/ 1074 w 1213"/>
                  <a:gd name="T1" fmla="*/ 55 h 935"/>
                  <a:gd name="T2" fmla="*/ 1074 w 1213"/>
                  <a:gd name="T3" fmla="*/ 360 h 935"/>
                  <a:gd name="T4" fmla="*/ 0 w 1213"/>
                  <a:gd name="T5" fmla="*/ 781 h 935"/>
                  <a:gd name="T6" fmla="*/ 0 w 1213"/>
                  <a:gd name="T7" fmla="*/ 935 h 935"/>
                  <a:gd name="T8" fmla="*/ 1074 w 1213"/>
                  <a:gd name="T9" fmla="*/ 516 h 935"/>
                  <a:gd name="T10" fmla="*/ 1213 w 1213"/>
                  <a:gd name="T11" fmla="*/ 462 h 935"/>
                  <a:gd name="T12" fmla="*/ 1213 w 1213"/>
                  <a:gd name="T13" fmla="*/ 0 h 935"/>
                  <a:gd name="T14" fmla="*/ 1074 w 1213"/>
                  <a:gd name="T15" fmla="*/ 55 h 9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13" h="935">
                    <a:moveTo>
                      <a:pt x="1074" y="55"/>
                    </a:moveTo>
                    <a:lnTo>
                      <a:pt x="1074" y="360"/>
                    </a:lnTo>
                    <a:lnTo>
                      <a:pt x="0" y="781"/>
                    </a:lnTo>
                    <a:lnTo>
                      <a:pt x="0" y="935"/>
                    </a:lnTo>
                    <a:lnTo>
                      <a:pt x="1074" y="516"/>
                    </a:lnTo>
                    <a:lnTo>
                      <a:pt x="1213" y="462"/>
                    </a:lnTo>
                    <a:lnTo>
                      <a:pt x="1213" y="0"/>
                    </a:lnTo>
                    <a:lnTo>
                      <a:pt x="1074" y="55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602631"/>
                  </a:gs>
                  <a:gs pos="100000">
                    <a:srgbClr val="F6443B"/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40"/>
              <p:cNvSpPr>
                <a:spLocks/>
              </p:cNvSpPr>
              <p:nvPr/>
            </p:nvSpPr>
            <p:spPr bwMode="auto">
              <a:xfrm>
                <a:off x="2032" y="2753"/>
                <a:ext cx="1074" cy="724"/>
              </a:xfrm>
              <a:custGeom>
                <a:avLst/>
                <a:gdLst>
                  <a:gd name="T0" fmla="*/ 0 w 1074"/>
                  <a:gd name="T1" fmla="*/ 0 h 724"/>
                  <a:gd name="T2" fmla="*/ 0 w 1074"/>
                  <a:gd name="T3" fmla="*/ 305 h 724"/>
                  <a:gd name="T4" fmla="*/ 1074 w 1074"/>
                  <a:gd name="T5" fmla="*/ 724 h 724"/>
                  <a:gd name="T6" fmla="*/ 1074 w 1074"/>
                  <a:gd name="T7" fmla="*/ 419 h 724"/>
                  <a:gd name="T8" fmla="*/ 0 w 1074"/>
                  <a:gd name="T9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4" h="724">
                    <a:moveTo>
                      <a:pt x="0" y="0"/>
                    </a:moveTo>
                    <a:lnTo>
                      <a:pt x="0" y="305"/>
                    </a:lnTo>
                    <a:lnTo>
                      <a:pt x="1074" y="724"/>
                    </a:lnTo>
                    <a:lnTo>
                      <a:pt x="1074" y="419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125680"/>
                  </a:gs>
                  <a:gs pos="0">
                    <a:srgbClr val="B0F7F4"/>
                  </a:gs>
                </a:gsLst>
                <a:lin ang="81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41"/>
              <p:cNvSpPr>
                <a:spLocks/>
              </p:cNvSpPr>
              <p:nvPr/>
            </p:nvSpPr>
            <p:spPr bwMode="auto">
              <a:xfrm>
                <a:off x="3106" y="1295"/>
                <a:ext cx="2142" cy="840"/>
              </a:xfrm>
              <a:custGeom>
                <a:avLst/>
                <a:gdLst>
                  <a:gd name="T0" fmla="*/ 1071 w 2142"/>
                  <a:gd name="T1" fmla="*/ 0 h 840"/>
                  <a:gd name="T2" fmla="*/ 0 w 2142"/>
                  <a:gd name="T3" fmla="*/ 421 h 840"/>
                  <a:gd name="T4" fmla="*/ 1071 w 2142"/>
                  <a:gd name="T5" fmla="*/ 840 h 840"/>
                  <a:gd name="T6" fmla="*/ 2142 w 2142"/>
                  <a:gd name="T7" fmla="*/ 421 h 840"/>
                  <a:gd name="T8" fmla="*/ 1071 w 2142"/>
                  <a:gd name="T9" fmla="*/ 0 h 8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2" h="840">
                    <a:moveTo>
                      <a:pt x="1071" y="0"/>
                    </a:moveTo>
                    <a:lnTo>
                      <a:pt x="0" y="421"/>
                    </a:lnTo>
                    <a:lnTo>
                      <a:pt x="1071" y="840"/>
                    </a:lnTo>
                    <a:lnTo>
                      <a:pt x="2142" y="421"/>
                    </a:lnTo>
                    <a:lnTo>
                      <a:pt x="1071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F6443B"/>
                  </a:gs>
                  <a:gs pos="0">
                    <a:srgbClr val="F9857F"/>
                  </a:gs>
                </a:gsLst>
                <a:lin ang="108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42"/>
              <p:cNvSpPr>
                <a:spLocks/>
              </p:cNvSpPr>
              <p:nvPr/>
            </p:nvSpPr>
            <p:spPr bwMode="auto">
              <a:xfrm>
                <a:off x="3106" y="1716"/>
                <a:ext cx="1071" cy="575"/>
              </a:xfrm>
              <a:custGeom>
                <a:avLst/>
                <a:gdLst>
                  <a:gd name="T0" fmla="*/ 1071 w 1071"/>
                  <a:gd name="T1" fmla="*/ 575 h 575"/>
                  <a:gd name="T2" fmla="*/ 0 w 1071"/>
                  <a:gd name="T3" fmla="*/ 154 h 575"/>
                  <a:gd name="T4" fmla="*/ 0 w 1071"/>
                  <a:gd name="T5" fmla="*/ 0 h 575"/>
                  <a:gd name="T6" fmla="*/ 1071 w 1071"/>
                  <a:gd name="T7" fmla="*/ 419 h 575"/>
                  <a:gd name="T8" fmla="*/ 1071 w 1071"/>
                  <a:gd name="T9" fmla="*/ 575 h 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1" h="575">
                    <a:moveTo>
                      <a:pt x="1071" y="575"/>
                    </a:moveTo>
                    <a:lnTo>
                      <a:pt x="0" y="154"/>
                    </a:lnTo>
                    <a:lnTo>
                      <a:pt x="0" y="0"/>
                    </a:lnTo>
                    <a:lnTo>
                      <a:pt x="1071" y="419"/>
                    </a:lnTo>
                    <a:lnTo>
                      <a:pt x="1071" y="575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682832"/>
                  </a:gs>
                  <a:gs pos="100000">
                    <a:srgbClr val="F6443B"/>
                  </a:gs>
                </a:gsLst>
                <a:lin ang="81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43"/>
              <p:cNvSpPr>
                <a:spLocks/>
              </p:cNvSpPr>
              <p:nvPr/>
            </p:nvSpPr>
            <p:spPr bwMode="auto">
              <a:xfrm>
                <a:off x="3106" y="2235"/>
                <a:ext cx="1211" cy="937"/>
              </a:xfrm>
              <a:custGeom>
                <a:avLst/>
                <a:gdLst>
                  <a:gd name="T0" fmla="*/ 1071 w 1211"/>
                  <a:gd name="T1" fmla="*/ 56 h 937"/>
                  <a:gd name="T2" fmla="*/ 1071 w 1211"/>
                  <a:gd name="T3" fmla="*/ 362 h 937"/>
                  <a:gd name="T4" fmla="*/ 0 w 1211"/>
                  <a:gd name="T5" fmla="*/ 780 h 937"/>
                  <a:gd name="T6" fmla="*/ 0 w 1211"/>
                  <a:gd name="T7" fmla="*/ 937 h 937"/>
                  <a:gd name="T8" fmla="*/ 1071 w 1211"/>
                  <a:gd name="T9" fmla="*/ 518 h 937"/>
                  <a:gd name="T10" fmla="*/ 1211 w 1211"/>
                  <a:gd name="T11" fmla="*/ 461 h 937"/>
                  <a:gd name="T12" fmla="*/ 1211 w 1211"/>
                  <a:gd name="T13" fmla="*/ 0 h 937"/>
                  <a:gd name="T14" fmla="*/ 1071 w 1211"/>
                  <a:gd name="T15" fmla="*/ 56 h 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11" h="937">
                    <a:moveTo>
                      <a:pt x="1071" y="56"/>
                    </a:moveTo>
                    <a:lnTo>
                      <a:pt x="1071" y="362"/>
                    </a:lnTo>
                    <a:lnTo>
                      <a:pt x="0" y="780"/>
                    </a:lnTo>
                    <a:lnTo>
                      <a:pt x="0" y="937"/>
                    </a:lnTo>
                    <a:lnTo>
                      <a:pt x="1071" y="518"/>
                    </a:lnTo>
                    <a:lnTo>
                      <a:pt x="1211" y="461"/>
                    </a:lnTo>
                    <a:lnTo>
                      <a:pt x="1211" y="0"/>
                    </a:lnTo>
                    <a:lnTo>
                      <a:pt x="1071" y="56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B0F7F4"/>
                  </a:gs>
                  <a:gs pos="0">
                    <a:srgbClr val="125680"/>
                  </a:gs>
                </a:gsLst>
                <a:lin ang="162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44"/>
              <p:cNvSpPr>
                <a:spLocks/>
              </p:cNvSpPr>
              <p:nvPr/>
            </p:nvSpPr>
            <p:spPr bwMode="auto">
              <a:xfrm>
                <a:off x="3106" y="1870"/>
                <a:ext cx="1071" cy="727"/>
              </a:xfrm>
              <a:custGeom>
                <a:avLst/>
                <a:gdLst>
                  <a:gd name="T0" fmla="*/ 0 w 1071"/>
                  <a:gd name="T1" fmla="*/ 0 h 727"/>
                  <a:gd name="T2" fmla="*/ 0 w 1071"/>
                  <a:gd name="T3" fmla="*/ 308 h 727"/>
                  <a:gd name="T4" fmla="*/ 1071 w 1071"/>
                  <a:gd name="T5" fmla="*/ 727 h 727"/>
                  <a:gd name="T6" fmla="*/ 1071 w 1071"/>
                  <a:gd name="T7" fmla="*/ 421 h 727"/>
                  <a:gd name="T8" fmla="*/ 0 w 1071"/>
                  <a:gd name="T9" fmla="*/ 0 h 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1" h="727">
                    <a:moveTo>
                      <a:pt x="0" y="0"/>
                    </a:moveTo>
                    <a:lnTo>
                      <a:pt x="0" y="308"/>
                    </a:lnTo>
                    <a:lnTo>
                      <a:pt x="1071" y="727"/>
                    </a:lnTo>
                    <a:lnTo>
                      <a:pt x="1071" y="421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4E2230"/>
                  </a:gs>
                  <a:gs pos="100000">
                    <a:srgbClr val="F6443B"/>
                  </a:gs>
                </a:gsLst>
                <a:lin ang="27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45"/>
              <p:cNvSpPr>
                <a:spLocks/>
              </p:cNvSpPr>
              <p:nvPr/>
            </p:nvSpPr>
            <p:spPr bwMode="auto">
              <a:xfrm>
                <a:off x="4177" y="834"/>
                <a:ext cx="1071" cy="575"/>
              </a:xfrm>
              <a:custGeom>
                <a:avLst/>
                <a:gdLst>
                  <a:gd name="T0" fmla="*/ 1071 w 1071"/>
                  <a:gd name="T1" fmla="*/ 575 h 575"/>
                  <a:gd name="T2" fmla="*/ 0 w 1071"/>
                  <a:gd name="T3" fmla="*/ 156 h 575"/>
                  <a:gd name="T4" fmla="*/ 0 w 1071"/>
                  <a:gd name="T5" fmla="*/ 0 h 575"/>
                  <a:gd name="T6" fmla="*/ 1071 w 1071"/>
                  <a:gd name="T7" fmla="*/ 421 h 575"/>
                  <a:gd name="T8" fmla="*/ 1071 w 1071"/>
                  <a:gd name="T9" fmla="*/ 575 h 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1" h="575">
                    <a:moveTo>
                      <a:pt x="1071" y="575"/>
                    </a:moveTo>
                    <a:lnTo>
                      <a:pt x="0" y="156"/>
                    </a:lnTo>
                    <a:lnTo>
                      <a:pt x="0" y="0"/>
                    </a:lnTo>
                    <a:lnTo>
                      <a:pt x="1071" y="421"/>
                    </a:lnTo>
                    <a:lnTo>
                      <a:pt x="1071" y="575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125680"/>
                  </a:gs>
                  <a:gs pos="0">
                    <a:srgbClr val="B0F7F4"/>
                  </a:gs>
                </a:gsLst>
                <a:lin ang="81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46"/>
              <p:cNvSpPr>
                <a:spLocks/>
              </p:cNvSpPr>
              <p:nvPr/>
            </p:nvSpPr>
            <p:spPr bwMode="auto">
              <a:xfrm>
                <a:off x="5248" y="834"/>
                <a:ext cx="1074" cy="575"/>
              </a:xfrm>
              <a:custGeom>
                <a:avLst/>
                <a:gdLst>
                  <a:gd name="T0" fmla="*/ 0 w 1074"/>
                  <a:gd name="T1" fmla="*/ 575 h 575"/>
                  <a:gd name="T2" fmla="*/ 1074 w 1074"/>
                  <a:gd name="T3" fmla="*/ 156 h 575"/>
                  <a:gd name="T4" fmla="*/ 1074 w 1074"/>
                  <a:gd name="T5" fmla="*/ 0 h 575"/>
                  <a:gd name="T6" fmla="*/ 0 w 1074"/>
                  <a:gd name="T7" fmla="*/ 421 h 575"/>
                  <a:gd name="T8" fmla="*/ 0 w 1074"/>
                  <a:gd name="T9" fmla="*/ 575 h 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4" h="575">
                    <a:moveTo>
                      <a:pt x="0" y="575"/>
                    </a:moveTo>
                    <a:lnTo>
                      <a:pt x="1074" y="156"/>
                    </a:lnTo>
                    <a:lnTo>
                      <a:pt x="1074" y="0"/>
                    </a:lnTo>
                    <a:lnTo>
                      <a:pt x="0" y="421"/>
                    </a:lnTo>
                    <a:lnTo>
                      <a:pt x="0" y="575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B0F7F4"/>
                  </a:gs>
                  <a:gs pos="0">
                    <a:srgbClr val="125680"/>
                  </a:gs>
                </a:gsLst>
                <a:lin ang="162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47"/>
              <p:cNvSpPr>
                <a:spLocks/>
              </p:cNvSpPr>
              <p:nvPr/>
            </p:nvSpPr>
            <p:spPr bwMode="auto">
              <a:xfrm>
                <a:off x="4177" y="1354"/>
                <a:ext cx="1213" cy="937"/>
              </a:xfrm>
              <a:custGeom>
                <a:avLst/>
                <a:gdLst>
                  <a:gd name="T0" fmla="*/ 1071 w 1213"/>
                  <a:gd name="T1" fmla="*/ 55 h 937"/>
                  <a:gd name="T2" fmla="*/ 1071 w 1213"/>
                  <a:gd name="T3" fmla="*/ 362 h 937"/>
                  <a:gd name="T4" fmla="*/ 0 w 1213"/>
                  <a:gd name="T5" fmla="*/ 781 h 937"/>
                  <a:gd name="T6" fmla="*/ 0 w 1213"/>
                  <a:gd name="T7" fmla="*/ 937 h 937"/>
                  <a:gd name="T8" fmla="*/ 1071 w 1213"/>
                  <a:gd name="T9" fmla="*/ 516 h 937"/>
                  <a:gd name="T10" fmla="*/ 1213 w 1213"/>
                  <a:gd name="T11" fmla="*/ 462 h 937"/>
                  <a:gd name="T12" fmla="*/ 1213 w 1213"/>
                  <a:gd name="T13" fmla="*/ 0 h 937"/>
                  <a:gd name="T14" fmla="*/ 1071 w 1213"/>
                  <a:gd name="T15" fmla="*/ 55 h 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13" h="937">
                    <a:moveTo>
                      <a:pt x="1071" y="55"/>
                    </a:moveTo>
                    <a:lnTo>
                      <a:pt x="1071" y="362"/>
                    </a:lnTo>
                    <a:lnTo>
                      <a:pt x="0" y="781"/>
                    </a:lnTo>
                    <a:lnTo>
                      <a:pt x="0" y="937"/>
                    </a:lnTo>
                    <a:lnTo>
                      <a:pt x="1071" y="516"/>
                    </a:lnTo>
                    <a:lnTo>
                      <a:pt x="1213" y="462"/>
                    </a:lnTo>
                    <a:lnTo>
                      <a:pt x="1213" y="0"/>
                    </a:lnTo>
                    <a:lnTo>
                      <a:pt x="1071" y="55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602631"/>
                  </a:gs>
                  <a:gs pos="100000">
                    <a:srgbClr val="F6443B"/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48"/>
              <p:cNvSpPr>
                <a:spLocks/>
              </p:cNvSpPr>
              <p:nvPr/>
            </p:nvSpPr>
            <p:spPr bwMode="auto">
              <a:xfrm>
                <a:off x="4177" y="990"/>
                <a:ext cx="1071" cy="726"/>
              </a:xfrm>
              <a:custGeom>
                <a:avLst/>
                <a:gdLst>
                  <a:gd name="T0" fmla="*/ 0 w 1071"/>
                  <a:gd name="T1" fmla="*/ 0 h 726"/>
                  <a:gd name="T2" fmla="*/ 0 w 1071"/>
                  <a:gd name="T3" fmla="*/ 305 h 726"/>
                  <a:gd name="T4" fmla="*/ 1071 w 1071"/>
                  <a:gd name="T5" fmla="*/ 726 h 726"/>
                  <a:gd name="T6" fmla="*/ 1071 w 1071"/>
                  <a:gd name="T7" fmla="*/ 419 h 726"/>
                  <a:gd name="T8" fmla="*/ 0 w 1071"/>
                  <a:gd name="T9" fmla="*/ 0 h 7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1" h="726">
                    <a:moveTo>
                      <a:pt x="0" y="0"/>
                    </a:moveTo>
                    <a:lnTo>
                      <a:pt x="0" y="305"/>
                    </a:lnTo>
                    <a:lnTo>
                      <a:pt x="1071" y="726"/>
                    </a:lnTo>
                    <a:lnTo>
                      <a:pt x="1071" y="419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125680"/>
                  </a:gs>
                  <a:gs pos="0">
                    <a:srgbClr val="B0F7F4"/>
                  </a:gs>
                </a:gsLst>
                <a:lin ang="81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49"/>
              <p:cNvSpPr>
                <a:spLocks noEditPoints="1"/>
              </p:cNvSpPr>
              <p:nvPr/>
            </p:nvSpPr>
            <p:spPr bwMode="auto">
              <a:xfrm>
                <a:off x="1609" y="3373"/>
                <a:ext cx="612" cy="284"/>
              </a:xfrm>
              <a:custGeom>
                <a:avLst/>
                <a:gdLst>
                  <a:gd name="T0" fmla="*/ 237 w 259"/>
                  <a:gd name="T1" fmla="*/ 105 h 120"/>
                  <a:gd name="T2" fmla="*/ 78 w 259"/>
                  <a:gd name="T3" fmla="*/ 84 h 120"/>
                  <a:gd name="T4" fmla="*/ 9 w 259"/>
                  <a:gd name="T5" fmla="*/ 43 h 120"/>
                  <a:gd name="T6" fmla="*/ 22 w 259"/>
                  <a:gd name="T7" fmla="*/ 14 h 120"/>
                  <a:gd name="T8" fmla="*/ 182 w 259"/>
                  <a:gd name="T9" fmla="*/ 37 h 120"/>
                  <a:gd name="T10" fmla="*/ 249 w 259"/>
                  <a:gd name="T11" fmla="*/ 77 h 120"/>
                  <a:gd name="T12" fmla="*/ 237 w 259"/>
                  <a:gd name="T13" fmla="*/ 105 h 120"/>
                  <a:gd name="T14" fmla="*/ 56 w 259"/>
                  <a:gd name="T15" fmla="*/ 29 h 120"/>
                  <a:gd name="T16" fmla="*/ 111 w 259"/>
                  <a:gd name="T17" fmla="*/ 69 h 120"/>
                  <a:gd name="T18" fmla="*/ 203 w 259"/>
                  <a:gd name="T19" fmla="*/ 90 h 120"/>
                  <a:gd name="T20" fmla="*/ 150 w 259"/>
                  <a:gd name="T21" fmla="*/ 51 h 120"/>
                  <a:gd name="T22" fmla="*/ 56 w 259"/>
                  <a:gd name="T23" fmla="*/ 2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9" h="120">
                    <a:moveTo>
                      <a:pt x="237" y="105"/>
                    </a:moveTo>
                    <a:cubicBezTo>
                      <a:pt x="202" y="120"/>
                      <a:pt x="149" y="113"/>
                      <a:pt x="78" y="84"/>
                    </a:cubicBezTo>
                    <a:cubicBezTo>
                      <a:pt x="42" y="68"/>
                      <a:pt x="19" y="55"/>
                      <a:pt x="9" y="43"/>
                    </a:cubicBezTo>
                    <a:cubicBezTo>
                      <a:pt x="0" y="31"/>
                      <a:pt x="4" y="21"/>
                      <a:pt x="22" y="14"/>
                    </a:cubicBezTo>
                    <a:cubicBezTo>
                      <a:pt x="57" y="0"/>
                      <a:pt x="110" y="7"/>
                      <a:pt x="182" y="37"/>
                    </a:cubicBezTo>
                    <a:cubicBezTo>
                      <a:pt x="217" y="52"/>
                      <a:pt x="240" y="65"/>
                      <a:pt x="249" y="77"/>
                    </a:cubicBezTo>
                    <a:cubicBezTo>
                      <a:pt x="259" y="89"/>
                      <a:pt x="255" y="98"/>
                      <a:pt x="237" y="105"/>
                    </a:cubicBezTo>
                    <a:close/>
                    <a:moveTo>
                      <a:pt x="56" y="29"/>
                    </a:moveTo>
                    <a:cubicBezTo>
                      <a:pt x="42" y="35"/>
                      <a:pt x="60" y="48"/>
                      <a:pt x="111" y="69"/>
                    </a:cubicBezTo>
                    <a:cubicBezTo>
                      <a:pt x="158" y="89"/>
                      <a:pt x="189" y="96"/>
                      <a:pt x="203" y="90"/>
                    </a:cubicBezTo>
                    <a:cubicBezTo>
                      <a:pt x="216" y="85"/>
                      <a:pt x="199" y="72"/>
                      <a:pt x="150" y="51"/>
                    </a:cubicBezTo>
                    <a:cubicBezTo>
                      <a:pt x="101" y="31"/>
                      <a:pt x="70" y="24"/>
                      <a:pt x="56" y="2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50"/>
              <p:cNvSpPr>
                <a:spLocks/>
              </p:cNvSpPr>
              <p:nvPr/>
            </p:nvSpPr>
            <p:spPr bwMode="auto">
              <a:xfrm>
                <a:off x="1925" y="3262"/>
                <a:ext cx="587" cy="243"/>
              </a:xfrm>
              <a:custGeom>
                <a:avLst/>
                <a:gdLst>
                  <a:gd name="T0" fmla="*/ 33 w 248"/>
                  <a:gd name="T1" fmla="*/ 0 h 103"/>
                  <a:gd name="T2" fmla="*/ 248 w 248"/>
                  <a:gd name="T3" fmla="*/ 90 h 103"/>
                  <a:gd name="T4" fmla="*/ 215 w 248"/>
                  <a:gd name="T5" fmla="*/ 103 h 103"/>
                  <a:gd name="T6" fmla="*/ 52 w 248"/>
                  <a:gd name="T7" fmla="*/ 35 h 103"/>
                  <a:gd name="T8" fmla="*/ 52 w 248"/>
                  <a:gd name="T9" fmla="*/ 41 h 103"/>
                  <a:gd name="T10" fmla="*/ 50 w 248"/>
                  <a:gd name="T11" fmla="*/ 46 h 103"/>
                  <a:gd name="T12" fmla="*/ 45 w 248"/>
                  <a:gd name="T13" fmla="*/ 51 h 103"/>
                  <a:gd name="T14" fmla="*/ 39 w 248"/>
                  <a:gd name="T15" fmla="*/ 56 h 103"/>
                  <a:gd name="T16" fmla="*/ 0 w 248"/>
                  <a:gd name="T17" fmla="*/ 40 h 103"/>
                  <a:gd name="T18" fmla="*/ 10 w 248"/>
                  <a:gd name="T19" fmla="*/ 24 h 103"/>
                  <a:gd name="T20" fmla="*/ 13 w 248"/>
                  <a:gd name="T21" fmla="*/ 8 h 103"/>
                  <a:gd name="T22" fmla="*/ 33 w 248"/>
                  <a:gd name="T23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48" h="103">
                    <a:moveTo>
                      <a:pt x="33" y="0"/>
                    </a:moveTo>
                    <a:cubicBezTo>
                      <a:pt x="248" y="90"/>
                      <a:pt x="248" y="90"/>
                      <a:pt x="248" y="90"/>
                    </a:cubicBezTo>
                    <a:cubicBezTo>
                      <a:pt x="215" y="103"/>
                      <a:pt x="215" y="103"/>
                      <a:pt x="215" y="103"/>
                    </a:cubicBezTo>
                    <a:cubicBezTo>
                      <a:pt x="52" y="35"/>
                      <a:pt x="52" y="35"/>
                      <a:pt x="52" y="35"/>
                    </a:cubicBezTo>
                    <a:cubicBezTo>
                      <a:pt x="53" y="37"/>
                      <a:pt x="53" y="39"/>
                      <a:pt x="52" y="41"/>
                    </a:cubicBezTo>
                    <a:cubicBezTo>
                      <a:pt x="52" y="43"/>
                      <a:pt x="51" y="44"/>
                      <a:pt x="50" y="46"/>
                    </a:cubicBezTo>
                    <a:cubicBezTo>
                      <a:pt x="49" y="48"/>
                      <a:pt x="47" y="50"/>
                      <a:pt x="45" y="51"/>
                    </a:cubicBezTo>
                    <a:cubicBezTo>
                      <a:pt x="43" y="53"/>
                      <a:pt x="41" y="55"/>
                      <a:pt x="39" y="56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5" y="35"/>
                      <a:pt x="8" y="30"/>
                      <a:pt x="10" y="24"/>
                    </a:cubicBezTo>
                    <a:cubicBezTo>
                      <a:pt x="13" y="19"/>
                      <a:pt x="13" y="14"/>
                      <a:pt x="13" y="8"/>
                    </a:cubicBezTo>
                    <a:lnTo>
                      <a:pt x="33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51"/>
              <p:cNvSpPr>
                <a:spLocks noEditPoints="1"/>
              </p:cNvSpPr>
              <p:nvPr/>
            </p:nvSpPr>
            <p:spPr bwMode="auto">
              <a:xfrm>
                <a:off x="2630" y="2507"/>
                <a:ext cx="613" cy="284"/>
              </a:xfrm>
              <a:custGeom>
                <a:avLst/>
                <a:gdLst>
                  <a:gd name="T0" fmla="*/ 237 w 259"/>
                  <a:gd name="T1" fmla="*/ 105 h 120"/>
                  <a:gd name="T2" fmla="*/ 78 w 259"/>
                  <a:gd name="T3" fmla="*/ 84 h 120"/>
                  <a:gd name="T4" fmla="*/ 9 w 259"/>
                  <a:gd name="T5" fmla="*/ 43 h 120"/>
                  <a:gd name="T6" fmla="*/ 22 w 259"/>
                  <a:gd name="T7" fmla="*/ 14 h 120"/>
                  <a:gd name="T8" fmla="*/ 182 w 259"/>
                  <a:gd name="T9" fmla="*/ 37 h 120"/>
                  <a:gd name="T10" fmla="*/ 249 w 259"/>
                  <a:gd name="T11" fmla="*/ 77 h 120"/>
                  <a:gd name="T12" fmla="*/ 237 w 259"/>
                  <a:gd name="T13" fmla="*/ 105 h 120"/>
                  <a:gd name="T14" fmla="*/ 56 w 259"/>
                  <a:gd name="T15" fmla="*/ 29 h 120"/>
                  <a:gd name="T16" fmla="*/ 111 w 259"/>
                  <a:gd name="T17" fmla="*/ 69 h 120"/>
                  <a:gd name="T18" fmla="*/ 203 w 259"/>
                  <a:gd name="T19" fmla="*/ 90 h 120"/>
                  <a:gd name="T20" fmla="*/ 150 w 259"/>
                  <a:gd name="T21" fmla="*/ 51 h 120"/>
                  <a:gd name="T22" fmla="*/ 56 w 259"/>
                  <a:gd name="T23" fmla="*/ 2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9" h="120">
                    <a:moveTo>
                      <a:pt x="237" y="105"/>
                    </a:moveTo>
                    <a:cubicBezTo>
                      <a:pt x="202" y="120"/>
                      <a:pt x="149" y="113"/>
                      <a:pt x="78" y="84"/>
                    </a:cubicBezTo>
                    <a:cubicBezTo>
                      <a:pt x="42" y="68"/>
                      <a:pt x="19" y="55"/>
                      <a:pt x="9" y="43"/>
                    </a:cubicBezTo>
                    <a:cubicBezTo>
                      <a:pt x="0" y="31"/>
                      <a:pt x="4" y="21"/>
                      <a:pt x="22" y="14"/>
                    </a:cubicBezTo>
                    <a:cubicBezTo>
                      <a:pt x="57" y="0"/>
                      <a:pt x="110" y="7"/>
                      <a:pt x="182" y="37"/>
                    </a:cubicBezTo>
                    <a:cubicBezTo>
                      <a:pt x="217" y="52"/>
                      <a:pt x="240" y="65"/>
                      <a:pt x="249" y="77"/>
                    </a:cubicBezTo>
                    <a:cubicBezTo>
                      <a:pt x="259" y="89"/>
                      <a:pt x="255" y="98"/>
                      <a:pt x="237" y="105"/>
                    </a:cubicBezTo>
                    <a:close/>
                    <a:moveTo>
                      <a:pt x="56" y="29"/>
                    </a:moveTo>
                    <a:cubicBezTo>
                      <a:pt x="42" y="35"/>
                      <a:pt x="60" y="48"/>
                      <a:pt x="111" y="69"/>
                    </a:cubicBezTo>
                    <a:cubicBezTo>
                      <a:pt x="158" y="89"/>
                      <a:pt x="189" y="96"/>
                      <a:pt x="203" y="90"/>
                    </a:cubicBezTo>
                    <a:cubicBezTo>
                      <a:pt x="216" y="85"/>
                      <a:pt x="199" y="72"/>
                      <a:pt x="150" y="51"/>
                    </a:cubicBezTo>
                    <a:cubicBezTo>
                      <a:pt x="101" y="31"/>
                      <a:pt x="70" y="24"/>
                      <a:pt x="56" y="29"/>
                    </a:cubicBezTo>
                    <a:close/>
                  </a:path>
                </a:pathLst>
              </a:custGeom>
              <a:solidFill>
                <a:srgbClr val="125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52"/>
              <p:cNvSpPr>
                <a:spLocks/>
              </p:cNvSpPr>
              <p:nvPr/>
            </p:nvSpPr>
            <p:spPr bwMode="auto">
              <a:xfrm>
                <a:off x="2902" y="2403"/>
                <a:ext cx="681" cy="281"/>
              </a:xfrm>
              <a:custGeom>
                <a:avLst/>
                <a:gdLst>
                  <a:gd name="T0" fmla="*/ 187 w 288"/>
                  <a:gd name="T1" fmla="*/ 88 h 119"/>
                  <a:gd name="T2" fmla="*/ 250 w 288"/>
                  <a:gd name="T3" fmla="*/ 62 h 119"/>
                  <a:gd name="T4" fmla="*/ 288 w 288"/>
                  <a:gd name="T5" fmla="*/ 78 h 119"/>
                  <a:gd name="T6" fmla="*/ 189 w 288"/>
                  <a:gd name="T7" fmla="*/ 119 h 119"/>
                  <a:gd name="T8" fmla="*/ 173 w 288"/>
                  <a:gd name="T9" fmla="*/ 112 h 119"/>
                  <a:gd name="T10" fmla="*/ 148 w 288"/>
                  <a:gd name="T11" fmla="*/ 99 h 119"/>
                  <a:gd name="T12" fmla="*/ 135 w 288"/>
                  <a:gd name="T13" fmla="*/ 85 h 119"/>
                  <a:gd name="T14" fmla="*/ 129 w 288"/>
                  <a:gd name="T15" fmla="*/ 72 h 119"/>
                  <a:gd name="T16" fmla="*/ 128 w 288"/>
                  <a:gd name="T17" fmla="*/ 61 h 119"/>
                  <a:gd name="T18" fmla="*/ 127 w 288"/>
                  <a:gd name="T19" fmla="*/ 51 h 119"/>
                  <a:gd name="T20" fmla="*/ 124 w 288"/>
                  <a:gd name="T21" fmla="*/ 43 h 119"/>
                  <a:gd name="T22" fmla="*/ 117 w 288"/>
                  <a:gd name="T23" fmla="*/ 35 h 119"/>
                  <a:gd name="T24" fmla="*/ 105 w 288"/>
                  <a:gd name="T25" fmla="*/ 29 h 119"/>
                  <a:gd name="T26" fmla="*/ 79 w 288"/>
                  <a:gd name="T27" fmla="*/ 23 h 119"/>
                  <a:gd name="T28" fmla="*/ 56 w 288"/>
                  <a:gd name="T29" fmla="*/ 27 h 119"/>
                  <a:gd name="T30" fmla="*/ 41 w 288"/>
                  <a:gd name="T31" fmla="*/ 51 h 119"/>
                  <a:gd name="T32" fmla="*/ 0 w 288"/>
                  <a:gd name="T33" fmla="*/ 34 h 119"/>
                  <a:gd name="T34" fmla="*/ 26 w 288"/>
                  <a:gd name="T35" fmla="*/ 9 h 119"/>
                  <a:gd name="T36" fmla="*/ 51 w 288"/>
                  <a:gd name="T37" fmla="*/ 2 h 119"/>
                  <a:gd name="T38" fmla="*/ 78 w 288"/>
                  <a:gd name="T39" fmla="*/ 1 h 119"/>
                  <a:gd name="T40" fmla="*/ 106 w 288"/>
                  <a:gd name="T41" fmla="*/ 5 h 119"/>
                  <a:gd name="T42" fmla="*/ 134 w 288"/>
                  <a:gd name="T43" fmla="*/ 14 h 119"/>
                  <a:gd name="T44" fmla="*/ 157 w 288"/>
                  <a:gd name="T45" fmla="*/ 26 h 119"/>
                  <a:gd name="T46" fmla="*/ 169 w 288"/>
                  <a:gd name="T47" fmla="*/ 38 h 119"/>
                  <a:gd name="T48" fmla="*/ 174 w 288"/>
                  <a:gd name="T49" fmla="*/ 50 h 119"/>
                  <a:gd name="T50" fmla="*/ 174 w 288"/>
                  <a:gd name="T51" fmla="*/ 62 h 119"/>
                  <a:gd name="T52" fmla="*/ 175 w 288"/>
                  <a:gd name="T53" fmla="*/ 70 h 119"/>
                  <a:gd name="T54" fmla="*/ 176 w 288"/>
                  <a:gd name="T55" fmla="*/ 77 h 119"/>
                  <a:gd name="T56" fmla="*/ 180 w 288"/>
                  <a:gd name="T57" fmla="*/ 83 h 119"/>
                  <a:gd name="T58" fmla="*/ 187 w 288"/>
                  <a:gd name="T59" fmla="*/ 88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88" h="119">
                    <a:moveTo>
                      <a:pt x="187" y="88"/>
                    </a:moveTo>
                    <a:cubicBezTo>
                      <a:pt x="250" y="62"/>
                      <a:pt x="250" y="62"/>
                      <a:pt x="250" y="62"/>
                    </a:cubicBezTo>
                    <a:cubicBezTo>
                      <a:pt x="288" y="78"/>
                      <a:pt x="288" y="78"/>
                      <a:pt x="288" y="78"/>
                    </a:cubicBezTo>
                    <a:cubicBezTo>
                      <a:pt x="189" y="119"/>
                      <a:pt x="189" y="119"/>
                      <a:pt x="189" y="119"/>
                    </a:cubicBezTo>
                    <a:cubicBezTo>
                      <a:pt x="173" y="112"/>
                      <a:pt x="173" y="112"/>
                      <a:pt x="173" y="112"/>
                    </a:cubicBezTo>
                    <a:cubicBezTo>
                      <a:pt x="163" y="108"/>
                      <a:pt x="154" y="103"/>
                      <a:pt x="148" y="99"/>
                    </a:cubicBezTo>
                    <a:cubicBezTo>
                      <a:pt x="142" y="94"/>
                      <a:pt x="138" y="89"/>
                      <a:pt x="135" y="85"/>
                    </a:cubicBezTo>
                    <a:cubicBezTo>
                      <a:pt x="132" y="81"/>
                      <a:pt x="130" y="76"/>
                      <a:pt x="129" y="72"/>
                    </a:cubicBezTo>
                    <a:cubicBezTo>
                      <a:pt x="129" y="68"/>
                      <a:pt x="128" y="64"/>
                      <a:pt x="128" y="61"/>
                    </a:cubicBezTo>
                    <a:cubicBezTo>
                      <a:pt x="128" y="57"/>
                      <a:pt x="128" y="54"/>
                      <a:pt x="127" y="51"/>
                    </a:cubicBezTo>
                    <a:cubicBezTo>
                      <a:pt x="127" y="48"/>
                      <a:pt x="125" y="45"/>
                      <a:pt x="124" y="43"/>
                    </a:cubicBezTo>
                    <a:cubicBezTo>
                      <a:pt x="122" y="40"/>
                      <a:pt x="120" y="38"/>
                      <a:pt x="117" y="35"/>
                    </a:cubicBezTo>
                    <a:cubicBezTo>
                      <a:pt x="114" y="33"/>
                      <a:pt x="110" y="31"/>
                      <a:pt x="105" y="29"/>
                    </a:cubicBezTo>
                    <a:cubicBezTo>
                      <a:pt x="96" y="26"/>
                      <a:pt x="88" y="24"/>
                      <a:pt x="79" y="23"/>
                    </a:cubicBezTo>
                    <a:cubicBezTo>
                      <a:pt x="71" y="23"/>
                      <a:pt x="63" y="24"/>
                      <a:pt x="56" y="27"/>
                    </a:cubicBezTo>
                    <a:cubicBezTo>
                      <a:pt x="43" y="32"/>
                      <a:pt x="38" y="40"/>
                      <a:pt x="41" y="51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1" y="24"/>
                      <a:pt x="10" y="16"/>
                      <a:pt x="26" y="9"/>
                    </a:cubicBezTo>
                    <a:cubicBezTo>
                      <a:pt x="34" y="6"/>
                      <a:pt x="42" y="3"/>
                      <a:pt x="51" y="2"/>
                    </a:cubicBezTo>
                    <a:cubicBezTo>
                      <a:pt x="59" y="1"/>
                      <a:pt x="68" y="0"/>
                      <a:pt x="78" y="1"/>
                    </a:cubicBezTo>
                    <a:cubicBezTo>
                      <a:pt x="87" y="1"/>
                      <a:pt x="97" y="3"/>
                      <a:pt x="106" y="5"/>
                    </a:cubicBezTo>
                    <a:cubicBezTo>
                      <a:pt x="116" y="7"/>
                      <a:pt x="125" y="10"/>
                      <a:pt x="134" y="14"/>
                    </a:cubicBezTo>
                    <a:cubicBezTo>
                      <a:pt x="144" y="18"/>
                      <a:pt x="151" y="22"/>
                      <a:pt x="157" y="26"/>
                    </a:cubicBezTo>
                    <a:cubicBezTo>
                      <a:pt x="162" y="30"/>
                      <a:pt x="166" y="34"/>
                      <a:pt x="169" y="38"/>
                    </a:cubicBezTo>
                    <a:cubicBezTo>
                      <a:pt x="172" y="42"/>
                      <a:pt x="173" y="46"/>
                      <a:pt x="174" y="50"/>
                    </a:cubicBezTo>
                    <a:cubicBezTo>
                      <a:pt x="174" y="54"/>
                      <a:pt x="175" y="58"/>
                      <a:pt x="174" y="62"/>
                    </a:cubicBezTo>
                    <a:cubicBezTo>
                      <a:pt x="174" y="65"/>
                      <a:pt x="175" y="67"/>
                      <a:pt x="175" y="70"/>
                    </a:cubicBezTo>
                    <a:cubicBezTo>
                      <a:pt x="175" y="73"/>
                      <a:pt x="175" y="75"/>
                      <a:pt x="176" y="77"/>
                    </a:cubicBezTo>
                    <a:cubicBezTo>
                      <a:pt x="177" y="80"/>
                      <a:pt x="178" y="82"/>
                      <a:pt x="180" y="83"/>
                    </a:cubicBezTo>
                    <a:cubicBezTo>
                      <a:pt x="182" y="85"/>
                      <a:pt x="184" y="87"/>
                      <a:pt x="187" y="88"/>
                    </a:cubicBezTo>
                    <a:close/>
                  </a:path>
                </a:pathLst>
              </a:custGeom>
              <a:solidFill>
                <a:srgbClr val="125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53"/>
              <p:cNvSpPr>
                <a:spLocks noEditPoints="1"/>
              </p:cNvSpPr>
              <p:nvPr/>
            </p:nvSpPr>
            <p:spPr bwMode="auto">
              <a:xfrm>
                <a:off x="3732" y="1598"/>
                <a:ext cx="613" cy="284"/>
              </a:xfrm>
              <a:custGeom>
                <a:avLst/>
                <a:gdLst>
                  <a:gd name="T0" fmla="*/ 237 w 259"/>
                  <a:gd name="T1" fmla="*/ 105 h 120"/>
                  <a:gd name="T2" fmla="*/ 78 w 259"/>
                  <a:gd name="T3" fmla="*/ 84 h 120"/>
                  <a:gd name="T4" fmla="*/ 9 w 259"/>
                  <a:gd name="T5" fmla="*/ 43 h 120"/>
                  <a:gd name="T6" fmla="*/ 22 w 259"/>
                  <a:gd name="T7" fmla="*/ 14 h 120"/>
                  <a:gd name="T8" fmla="*/ 182 w 259"/>
                  <a:gd name="T9" fmla="*/ 37 h 120"/>
                  <a:gd name="T10" fmla="*/ 249 w 259"/>
                  <a:gd name="T11" fmla="*/ 77 h 120"/>
                  <a:gd name="T12" fmla="*/ 237 w 259"/>
                  <a:gd name="T13" fmla="*/ 105 h 120"/>
                  <a:gd name="T14" fmla="*/ 56 w 259"/>
                  <a:gd name="T15" fmla="*/ 29 h 120"/>
                  <a:gd name="T16" fmla="*/ 111 w 259"/>
                  <a:gd name="T17" fmla="*/ 69 h 120"/>
                  <a:gd name="T18" fmla="*/ 203 w 259"/>
                  <a:gd name="T19" fmla="*/ 90 h 120"/>
                  <a:gd name="T20" fmla="*/ 150 w 259"/>
                  <a:gd name="T21" fmla="*/ 51 h 120"/>
                  <a:gd name="T22" fmla="*/ 56 w 259"/>
                  <a:gd name="T23" fmla="*/ 2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9" h="120">
                    <a:moveTo>
                      <a:pt x="237" y="105"/>
                    </a:moveTo>
                    <a:cubicBezTo>
                      <a:pt x="202" y="120"/>
                      <a:pt x="149" y="113"/>
                      <a:pt x="78" y="84"/>
                    </a:cubicBezTo>
                    <a:cubicBezTo>
                      <a:pt x="42" y="68"/>
                      <a:pt x="19" y="55"/>
                      <a:pt x="9" y="43"/>
                    </a:cubicBezTo>
                    <a:cubicBezTo>
                      <a:pt x="0" y="31"/>
                      <a:pt x="4" y="21"/>
                      <a:pt x="22" y="14"/>
                    </a:cubicBezTo>
                    <a:cubicBezTo>
                      <a:pt x="57" y="0"/>
                      <a:pt x="110" y="7"/>
                      <a:pt x="182" y="37"/>
                    </a:cubicBezTo>
                    <a:cubicBezTo>
                      <a:pt x="217" y="52"/>
                      <a:pt x="240" y="65"/>
                      <a:pt x="249" y="77"/>
                    </a:cubicBezTo>
                    <a:cubicBezTo>
                      <a:pt x="259" y="89"/>
                      <a:pt x="255" y="98"/>
                      <a:pt x="237" y="105"/>
                    </a:cubicBezTo>
                    <a:close/>
                    <a:moveTo>
                      <a:pt x="56" y="29"/>
                    </a:moveTo>
                    <a:cubicBezTo>
                      <a:pt x="42" y="35"/>
                      <a:pt x="60" y="48"/>
                      <a:pt x="111" y="69"/>
                    </a:cubicBezTo>
                    <a:cubicBezTo>
                      <a:pt x="158" y="89"/>
                      <a:pt x="189" y="96"/>
                      <a:pt x="203" y="90"/>
                    </a:cubicBezTo>
                    <a:cubicBezTo>
                      <a:pt x="216" y="85"/>
                      <a:pt x="199" y="72"/>
                      <a:pt x="150" y="51"/>
                    </a:cubicBezTo>
                    <a:cubicBezTo>
                      <a:pt x="101" y="31"/>
                      <a:pt x="70" y="24"/>
                      <a:pt x="56" y="2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54"/>
              <p:cNvSpPr>
                <a:spLocks/>
              </p:cNvSpPr>
              <p:nvPr/>
            </p:nvSpPr>
            <p:spPr bwMode="auto">
              <a:xfrm>
                <a:off x="3993" y="1499"/>
                <a:ext cx="626" cy="265"/>
              </a:xfrm>
              <a:custGeom>
                <a:avLst/>
                <a:gdLst>
                  <a:gd name="T0" fmla="*/ 191 w 265"/>
                  <a:gd name="T1" fmla="*/ 112 h 112"/>
                  <a:gd name="T2" fmla="*/ 150 w 265"/>
                  <a:gd name="T3" fmla="*/ 96 h 112"/>
                  <a:gd name="T4" fmla="*/ 201 w 265"/>
                  <a:gd name="T5" fmla="*/ 88 h 112"/>
                  <a:gd name="T6" fmla="*/ 213 w 265"/>
                  <a:gd name="T7" fmla="*/ 76 h 112"/>
                  <a:gd name="T8" fmla="*/ 198 w 265"/>
                  <a:gd name="T9" fmla="*/ 65 h 112"/>
                  <a:gd name="T10" fmla="*/ 168 w 265"/>
                  <a:gd name="T11" fmla="*/ 59 h 112"/>
                  <a:gd name="T12" fmla="*/ 137 w 265"/>
                  <a:gd name="T13" fmla="*/ 66 h 112"/>
                  <a:gd name="T14" fmla="*/ 123 w 265"/>
                  <a:gd name="T15" fmla="*/ 72 h 112"/>
                  <a:gd name="T16" fmla="*/ 87 w 265"/>
                  <a:gd name="T17" fmla="*/ 57 h 112"/>
                  <a:gd name="T18" fmla="*/ 100 w 265"/>
                  <a:gd name="T19" fmla="*/ 52 h 112"/>
                  <a:gd name="T20" fmla="*/ 102 w 265"/>
                  <a:gd name="T21" fmla="*/ 28 h 112"/>
                  <a:gd name="T22" fmla="*/ 54 w 265"/>
                  <a:gd name="T23" fmla="*/ 27 h 112"/>
                  <a:gd name="T24" fmla="*/ 38 w 265"/>
                  <a:gd name="T25" fmla="*/ 44 h 112"/>
                  <a:gd name="T26" fmla="*/ 0 w 265"/>
                  <a:gd name="T27" fmla="*/ 29 h 112"/>
                  <a:gd name="T28" fmla="*/ 26 w 265"/>
                  <a:gd name="T29" fmla="*/ 9 h 112"/>
                  <a:gd name="T30" fmla="*/ 76 w 265"/>
                  <a:gd name="T31" fmla="*/ 0 h 112"/>
                  <a:gd name="T32" fmla="*/ 126 w 265"/>
                  <a:gd name="T33" fmla="*/ 11 h 112"/>
                  <a:gd name="T34" fmla="*/ 148 w 265"/>
                  <a:gd name="T35" fmla="*/ 44 h 112"/>
                  <a:gd name="T36" fmla="*/ 149 w 265"/>
                  <a:gd name="T37" fmla="*/ 45 h 112"/>
                  <a:gd name="T38" fmla="*/ 190 w 265"/>
                  <a:gd name="T39" fmla="*/ 41 h 112"/>
                  <a:gd name="T40" fmla="*/ 232 w 265"/>
                  <a:gd name="T41" fmla="*/ 51 h 112"/>
                  <a:gd name="T42" fmla="*/ 264 w 265"/>
                  <a:gd name="T43" fmla="*/ 77 h 112"/>
                  <a:gd name="T44" fmla="*/ 239 w 265"/>
                  <a:gd name="T45" fmla="*/ 101 h 112"/>
                  <a:gd name="T46" fmla="*/ 191 w 265"/>
                  <a:gd name="T47" fmla="*/ 1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65" h="112">
                    <a:moveTo>
                      <a:pt x="191" y="112"/>
                    </a:moveTo>
                    <a:cubicBezTo>
                      <a:pt x="150" y="96"/>
                      <a:pt x="150" y="96"/>
                      <a:pt x="150" y="96"/>
                    </a:cubicBezTo>
                    <a:cubicBezTo>
                      <a:pt x="171" y="96"/>
                      <a:pt x="187" y="93"/>
                      <a:pt x="201" y="88"/>
                    </a:cubicBezTo>
                    <a:cubicBezTo>
                      <a:pt x="209" y="84"/>
                      <a:pt x="213" y="80"/>
                      <a:pt x="213" y="76"/>
                    </a:cubicBezTo>
                    <a:cubicBezTo>
                      <a:pt x="212" y="72"/>
                      <a:pt x="207" y="68"/>
                      <a:pt x="198" y="65"/>
                    </a:cubicBezTo>
                    <a:cubicBezTo>
                      <a:pt x="189" y="61"/>
                      <a:pt x="179" y="59"/>
                      <a:pt x="168" y="59"/>
                    </a:cubicBezTo>
                    <a:cubicBezTo>
                      <a:pt x="157" y="59"/>
                      <a:pt x="147" y="62"/>
                      <a:pt x="137" y="66"/>
                    </a:cubicBezTo>
                    <a:cubicBezTo>
                      <a:pt x="123" y="72"/>
                      <a:pt x="123" y="72"/>
                      <a:pt x="123" y="72"/>
                    </a:cubicBezTo>
                    <a:cubicBezTo>
                      <a:pt x="87" y="57"/>
                      <a:pt x="87" y="57"/>
                      <a:pt x="87" y="57"/>
                    </a:cubicBezTo>
                    <a:cubicBezTo>
                      <a:pt x="100" y="52"/>
                      <a:pt x="100" y="52"/>
                      <a:pt x="100" y="52"/>
                    </a:cubicBezTo>
                    <a:cubicBezTo>
                      <a:pt x="119" y="44"/>
                      <a:pt x="120" y="36"/>
                      <a:pt x="102" y="28"/>
                    </a:cubicBezTo>
                    <a:cubicBezTo>
                      <a:pt x="85" y="21"/>
                      <a:pt x="69" y="21"/>
                      <a:pt x="54" y="27"/>
                    </a:cubicBezTo>
                    <a:cubicBezTo>
                      <a:pt x="44" y="31"/>
                      <a:pt x="39" y="37"/>
                      <a:pt x="38" y="44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3" y="21"/>
                      <a:pt x="12" y="15"/>
                      <a:pt x="26" y="9"/>
                    </a:cubicBezTo>
                    <a:cubicBezTo>
                      <a:pt x="41" y="3"/>
                      <a:pt x="58" y="0"/>
                      <a:pt x="76" y="0"/>
                    </a:cubicBezTo>
                    <a:cubicBezTo>
                      <a:pt x="94" y="1"/>
                      <a:pt x="111" y="4"/>
                      <a:pt x="126" y="11"/>
                    </a:cubicBezTo>
                    <a:cubicBezTo>
                      <a:pt x="154" y="22"/>
                      <a:pt x="161" y="33"/>
                      <a:pt x="148" y="44"/>
                    </a:cubicBezTo>
                    <a:cubicBezTo>
                      <a:pt x="149" y="45"/>
                      <a:pt x="149" y="45"/>
                      <a:pt x="149" y="45"/>
                    </a:cubicBezTo>
                    <a:cubicBezTo>
                      <a:pt x="162" y="41"/>
                      <a:pt x="175" y="40"/>
                      <a:pt x="190" y="41"/>
                    </a:cubicBezTo>
                    <a:cubicBezTo>
                      <a:pt x="205" y="42"/>
                      <a:pt x="219" y="46"/>
                      <a:pt x="232" y="51"/>
                    </a:cubicBezTo>
                    <a:cubicBezTo>
                      <a:pt x="252" y="59"/>
                      <a:pt x="263" y="68"/>
                      <a:pt x="264" y="77"/>
                    </a:cubicBezTo>
                    <a:cubicBezTo>
                      <a:pt x="265" y="86"/>
                      <a:pt x="257" y="94"/>
                      <a:pt x="239" y="101"/>
                    </a:cubicBezTo>
                    <a:cubicBezTo>
                      <a:pt x="223" y="108"/>
                      <a:pt x="207" y="111"/>
                      <a:pt x="191" y="11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55"/>
              <p:cNvSpPr>
                <a:spLocks/>
              </p:cNvSpPr>
              <p:nvPr/>
            </p:nvSpPr>
            <p:spPr bwMode="auto">
              <a:xfrm>
                <a:off x="4177" y="266"/>
                <a:ext cx="2542" cy="989"/>
              </a:xfrm>
              <a:custGeom>
                <a:avLst/>
                <a:gdLst>
                  <a:gd name="T0" fmla="*/ 691 w 2542"/>
                  <a:gd name="T1" fmla="*/ 0 h 989"/>
                  <a:gd name="T2" fmla="*/ 1071 w 2542"/>
                  <a:gd name="T3" fmla="*/ 149 h 989"/>
                  <a:gd name="T4" fmla="*/ 0 w 2542"/>
                  <a:gd name="T5" fmla="*/ 568 h 989"/>
                  <a:gd name="T6" fmla="*/ 1071 w 2542"/>
                  <a:gd name="T7" fmla="*/ 989 h 989"/>
                  <a:gd name="T8" fmla="*/ 2145 w 2542"/>
                  <a:gd name="T9" fmla="*/ 568 h 989"/>
                  <a:gd name="T10" fmla="*/ 2542 w 2542"/>
                  <a:gd name="T11" fmla="*/ 724 h 989"/>
                  <a:gd name="T12" fmla="*/ 2542 w 2542"/>
                  <a:gd name="T13" fmla="*/ 0 h 989"/>
                  <a:gd name="T14" fmla="*/ 691 w 2542"/>
                  <a:gd name="T15" fmla="*/ 0 h 9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42" h="989">
                    <a:moveTo>
                      <a:pt x="691" y="0"/>
                    </a:moveTo>
                    <a:lnTo>
                      <a:pt x="1071" y="149"/>
                    </a:lnTo>
                    <a:lnTo>
                      <a:pt x="0" y="568"/>
                    </a:lnTo>
                    <a:lnTo>
                      <a:pt x="1071" y="989"/>
                    </a:lnTo>
                    <a:lnTo>
                      <a:pt x="2145" y="568"/>
                    </a:lnTo>
                    <a:lnTo>
                      <a:pt x="2542" y="724"/>
                    </a:lnTo>
                    <a:lnTo>
                      <a:pt x="2542" y="0"/>
                    </a:lnTo>
                    <a:lnTo>
                      <a:pt x="691" y="0"/>
                    </a:lnTo>
                    <a:close/>
                  </a:path>
                </a:pathLst>
              </a:custGeom>
              <a:gradFill flip="none" rotWithShape="1">
                <a:gsLst>
                  <a:gs pos="22000">
                    <a:srgbClr val="E1FCFB"/>
                  </a:gs>
                  <a:gs pos="100000">
                    <a:srgbClr val="B0F7F4"/>
                  </a:gs>
                  <a:gs pos="0">
                    <a:schemeClr val="bg1"/>
                  </a:gs>
                </a:gsLst>
                <a:lin ang="81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56"/>
              <p:cNvSpPr>
                <a:spLocks noEditPoints="1"/>
              </p:cNvSpPr>
              <p:nvPr/>
            </p:nvSpPr>
            <p:spPr bwMode="auto">
              <a:xfrm>
                <a:off x="4782" y="741"/>
                <a:ext cx="613" cy="284"/>
              </a:xfrm>
              <a:custGeom>
                <a:avLst/>
                <a:gdLst>
                  <a:gd name="T0" fmla="*/ 237 w 259"/>
                  <a:gd name="T1" fmla="*/ 105 h 120"/>
                  <a:gd name="T2" fmla="*/ 78 w 259"/>
                  <a:gd name="T3" fmla="*/ 84 h 120"/>
                  <a:gd name="T4" fmla="*/ 9 w 259"/>
                  <a:gd name="T5" fmla="*/ 43 h 120"/>
                  <a:gd name="T6" fmla="*/ 22 w 259"/>
                  <a:gd name="T7" fmla="*/ 14 h 120"/>
                  <a:gd name="T8" fmla="*/ 182 w 259"/>
                  <a:gd name="T9" fmla="*/ 37 h 120"/>
                  <a:gd name="T10" fmla="*/ 249 w 259"/>
                  <a:gd name="T11" fmla="*/ 77 h 120"/>
                  <a:gd name="T12" fmla="*/ 237 w 259"/>
                  <a:gd name="T13" fmla="*/ 105 h 120"/>
                  <a:gd name="T14" fmla="*/ 56 w 259"/>
                  <a:gd name="T15" fmla="*/ 29 h 120"/>
                  <a:gd name="T16" fmla="*/ 111 w 259"/>
                  <a:gd name="T17" fmla="*/ 69 h 120"/>
                  <a:gd name="T18" fmla="*/ 203 w 259"/>
                  <a:gd name="T19" fmla="*/ 90 h 120"/>
                  <a:gd name="T20" fmla="*/ 150 w 259"/>
                  <a:gd name="T21" fmla="*/ 51 h 120"/>
                  <a:gd name="T22" fmla="*/ 56 w 259"/>
                  <a:gd name="T23" fmla="*/ 2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9" h="120">
                    <a:moveTo>
                      <a:pt x="237" y="105"/>
                    </a:moveTo>
                    <a:cubicBezTo>
                      <a:pt x="202" y="120"/>
                      <a:pt x="149" y="113"/>
                      <a:pt x="78" y="84"/>
                    </a:cubicBezTo>
                    <a:cubicBezTo>
                      <a:pt x="42" y="68"/>
                      <a:pt x="19" y="55"/>
                      <a:pt x="9" y="43"/>
                    </a:cubicBezTo>
                    <a:cubicBezTo>
                      <a:pt x="0" y="31"/>
                      <a:pt x="4" y="21"/>
                      <a:pt x="22" y="14"/>
                    </a:cubicBezTo>
                    <a:cubicBezTo>
                      <a:pt x="57" y="0"/>
                      <a:pt x="110" y="7"/>
                      <a:pt x="182" y="37"/>
                    </a:cubicBezTo>
                    <a:cubicBezTo>
                      <a:pt x="217" y="52"/>
                      <a:pt x="240" y="65"/>
                      <a:pt x="249" y="77"/>
                    </a:cubicBezTo>
                    <a:cubicBezTo>
                      <a:pt x="259" y="89"/>
                      <a:pt x="255" y="98"/>
                      <a:pt x="237" y="105"/>
                    </a:cubicBezTo>
                    <a:close/>
                    <a:moveTo>
                      <a:pt x="56" y="29"/>
                    </a:moveTo>
                    <a:cubicBezTo>
                      <a:pt x="42" y="35"/>
                      <a:pt x="60" y="48"/>
                      <a:pt x="111" y="69"/>
                    </a:cubicBezTo>
                    <a:cubicBezTo>
                      <a:pt x="158" y="89"/>
                      <a:pt x="189" y="96"/>
                      <a:pt x="203" y="90"/>
                    </a:cubicBezTo>
                    <a:cubicBezTo>
                      <a:pt x="216" y="85"/>
                      <a:pt x="199" y="72"/>
                      <a:pt x="150" y="51"/>
                    </a:cubicBezTo>
                    <a:cubicBezTo>
                      <a:pt x="101" y="31"/>
                      <a:pt x="70" y="24"/>
                      <a:pt x="56" y="29"/>
                    </a:cubicBezTo>
                    <a:close/>
                  </a:path>
                </a:pathLst>
              </a:custGeom>
              <a:solidFill>
                <a:srgbClr val="125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57"/>
              <p:cNvSpPr>
                <a:spLocks noEditPoints="1"/>
              </p:cNvSpPr>
              <p:nvPr/>
            </p:nvSpPr>
            <p:spPr bwMode="auto">
              <a:xfrm>
                <a:off x="5144" y="623"/>
                <a:ext cx="570" cy="258"/>
              </a:xfrm>
              <a:custGeom>
                <a:avLst/>
                <a:gdLst>
                  <a:gd name="T0" fmla="*/ 31 w 241"/>
                  <a:gd name="T1" fmla="*/ 0 h 109"/>
                  <a:gd name="T2" fmla="*/ 164 w 241"/>
                  <a:gd name="T3" fmla="*/ 55 h 109"/>
                  <a:gd name="T4" fmla="*/ 181 w 241"/>
                  <a:gd name="T5" fmla="*/ 48 h 109"/>
                  <a:gd name="T6" fmla="*/ 216 w 241"/>
                  <a:gd name="T7" fmla="*/ 62 h 109"/>
                  <a:gd name="T8" fmla="*/ 198 w 241"/>
                  <a:gd name="T9" fmla="*/ 70 h 109"/>
                  <a:gd name="T10" fmla="*/ 241 w 241"/>
                  <a:gd name="T11" fmla="*/ 87 h 109"/>
                  <a:gd name="T12" fmla="*/ 211 w 241"/>
                  <a:gd name="T13" fmla="*/ 100 h 109"/>
                  <a:gd name="T14" fmla="*/ 168 w 241"/>
                  <a:gd name="T15" fmla="*/ 82 h 109"/>
                  <a:gd name="T16" fmla="*/ 103 w 241"/>
                  <a:gd name="T17" fmla="*/ 109 h 109"/>
                  <a:gd name="T18" fmla="*/ 67 w 241"/>
                  <a:gd name="T19" fmla="*/ 94 h 109"/>
                  <a:gd name="T20" fmla="*/ 55 w 241"/>
                  <a:gd name="T21" fmla="*/ 74 h 109"/>
                  <a:gd name="T22" fmla="*/ 40 w 241"/>
                  <a:gd name="T23" fmla="*/ 53 h 109"/>
                  <a:gd name="T24" fmla="*/ 21 w 241"/>
                  <a:gd name="T25" fmla="*/ 32 h 109"/>
                  <a:gd name="T26" fmla="*/ 0 w 241"/>
                  <a:gd name="T27" fmla="*/ 13 h 109"/>
                  <a:gd name="T28" fmla="*/ 31 w 241"/>
                  <a:gd name="T29" fmla="*/ 0 h 109"/>
                  <a:gd name="T30" fmla="*/ 98 w 241"/>
                  <a:gd name="T31" fmla="*/ 82 h 109"/>
                  <a:gd name="T32" fmla="*/ 134 w 241"/>
                  <a:gd name="T33" fmla="*/ 68 h 109"/>
                  <a:gd name="T34" fmla="*/ 60 w 241"/>
                  <a:gd name="T35" fmla="*/ 37 h 109"/>
                  <a:gd name="T36" fmla="*/ 72 w 241"/>
                  <a:gd name="T37" fmla="*/ 48 h 109"/>
                  <a:gd name="T38" fmla="*/ 82 w 241"/>
                  <a:gd name="T39" fmla="*/ 60 h 109"/>
                  <a:gd name="T40" fmla="*/ 91 w 241"/>
                  <a:gd name="T41" fmla="*/ 71 h 109"/>
                  <a:gd name="T42" fmla="*/ 98 w 241"/>
                  <a:gd name="T43" fmla="*/ 82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41" h="109">
                    <a:moveTo>
                      <a:pt x="31" y="0"/>
                    </a:moveTo>
                    <a:cubicBezTo>
                      <a:pt x="164" y="55"/>
                      <a:pt x="164" y="55"/>
                      <a:pt x="164" y="55"/>
                    </a:cubicBezTo>
                    <a:cubicBezTo>
                      <a:pt x="181" y="48"/>
                      <a:pt x="181" y="48"/>
                      <a:pt x="181" y="48"/>
                    </a:cubicBezTo>
                    <a:cubicBezTo>
                      <a:pt x="216" y="62"/>
                      <a:pt x="216" y="62"/>
                      <a:pt x="216" y="62"/>
                    </a:cubicBezTo>
                    <a:cubicBezTo>
                      <a:pt x="198" y="70"/>
                      <a:pt x="198" y="70"/>
                      <a:pt x="198" y="70"/>
                    </a:cubicBezTo>
                    <a:cubicBezTo>
                      <a:pt x="241" y="87"/>
                      <a:pt x="241" y="87"/>
                      <a:pt x="241" y="87"/>
                    </a:cubicBezTo>
                    <a:cubicBezTo>
                      <a:pt x="211" y="100"/>
                      <a:pt x="211" y="100"/>
                      <a:pt x="211" y="100"/>
                    </a:cubicBezTo>
                    <a:cubicBezTo>
                      <a:pt x="168" y="82"/>
                      <a:pt x="168" y="82"/>
                      <a:pt x="168" y="82"/>
                    </a:cubicBezTo>
                    <a:cubicBezTo>
                      <a:pt x="103" y="109"/>
                      <a:pt x="103" y="109"/>
                      <a:pt x="103" y="109"/>
                    </a:cubicBezTo>
                    <a:cubicBezTo>
                      <a:pt x="67" y="94"/>
                      <a:pt x="67" y="94"/>
                      <a:pt x="67" y="94"/>
                    </a:cubicBezTo>
                    <a:cubicBezTo>
                      <a:pt x="64" y="87"/>
                      <a:pt x="60" y="81"/>
                      <a:pt x="55" y="74"/>
                    </a:cubicBezTo>
                    <a:cubicBezTo>
                      <a:pt x="50" y="67"/>
                      <a:pt x="45" y="60"/>
                      <a:pt x="40" y="53"/>
                    </a:cubicBezTo>
                    <a:cubicBezTo>
                      <a:pt x="34" y="45"/>
                      <a:pt x="28" y="38"/>
                      <a:pt x="21" y="32"/>
                    </a:cubicBezTo>
                    <a:cubicBezTo>
                      <a:pt x="14" y="25"/>
                      <a:pt x="8" y="18"/>
                      <a:pt x="0" y="13"/>
                    </a:cubicBezTo>
                    <a:lnTo>
                      <a:pt x="31" y="0"/>
                    </a:lnTo>
                    <a:close/>
                    <a:moveTo>
                      <a:pt x="98" y="82"/>
                    </a:moveTo>
                    <a:cubicBezTo>
                      <a:pt x="134" y="68"/>
                      <a:pt x="134" y="68"/>
                      <a:pt x="134" y="68"/>
                    </a:cubicBezTo>
                    <a:cubicBezTo>
                      <a:pt x="60" y="37"/>
                      <a:pt x="60" y="37"/>
                      <a:pt x="60" y="37"/>
                    </a:cubicBezTo>
                    <a:cubicBezTo>
                      <a:pt x="64" y="41"/>
                      <a:pt x="68" y="44"/>
                      <a:pt x="72" y="48"/>
                    </a:cubicBezTo>
                    <a:cubicBezTo>
                      <a:pt x="75" y="52"/>
                      <a:pt x="79" y="56"/>
                      <a:pt x="82" y="60"/>
                    </a:cubicBezTo>
                    <a:cubicBezTo>
                      <a:pt x="85" y="64"/>
                      <a:pt x="88" y="68"/>
                      <a:pt x="91" y="71"/>
                    </a:cubicBezTo>
                    <a:cubicBezTo>
                      <a:pt x="93" y="75"/>
                      <a:pt x="96" y="79"/>
                      <a:pt x="98" y="82"/>
                    </a:cubicBezTo>
                    <a:close/>
                  </a:path>
                </a:pathLst>
              </a:custGeom>
              <a:solidFill>
                <a:srgbClr val="125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58"/>
              <p:cNvSpPr>
                <a:spLocks/>
              </p:cNvSpPr>
              <p:nvPr/>
            </p:nvSpPr>
            <p:spPr bwMode="auto">
              <a:xfrm>
                <a:off x="6322" y="834"/>
                <a:ext cx="397" cy="312"/>
              </a:xfrm>
              <a:custGeom>
                <a:avLst/>
                <a:gdLst>
                  <a:gd name="T0" fmla="*/ 397 w 397"/>
                  <a:gd name="T1" fmla="*/ 156 h 312"/>
                  <a:gd name="T2" fmla="*/ 0 w 397"/>
                  <a:gd name="T3" fmla="*/ 0 h 312"/>
                  <a:gd name="T4" fmla="*/ 0 w 397"/>
                  <a:gd name="T5" fmla="*/ 156 h 312"/>
                  <a:gd name="T6" fmla="*/ 397 w 397"/>
                  <a:gd name="T7" fmla="*/ 312 h 312"/>
                  <a:gd name="T8" fmla="*/ 397 w 397"/>
                  <a:gd name="T9" fmla="*/ 156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7" h="312">
                    <a:moveTo>
                      <a:pt x="397" y="156"/>
                    </a:moveTo>
                    <a:lnTo>
                      <a:pt x="0" y="0"/>
                    </a:lnTo>
                    <a:lnTo>
                      <a:pt x="0" y="156"/>
                    </a:lnTo>
                    <a:lnTo>
                      <a:pt x="397" y="312"/>
                    </a:lnTo>
                    <a:lnTo>
                      <a:pt x="397" y="156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B0F7F4"/>
                  </a:gs>
                  <a:gs pos="0">
                    <a:srgbClr val="125680"/>
                  </a:gs>
                </a:gsLst>
                <a:lin ang="81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60" name="Rectangle 48"/>
          <p:cNvSpPr>
            <a:spLocks noChangeArrowheads="1"/>
          </p:cNvSpPr>
          <p:nvPr/>
        </p:nvSpPr>
        <p:spPr bwMode="auto">
          <a:xfrm>
            <a:off x="3110" y="6490546"/>
            <a:ext cx="12188890" cy="367454"/>
          </a:xfrm>
          <a:prstGeom prst="rect">
            <a:avLst/>
          </a:prstGeom>
          <a:gradFill flip="none" rotWithShape="1">
            <a:gsLst>
              <a:gs pos="100000">
                <a:srgbClr val="070C1E"/>
              </a:gs>
              <a:gs pos="0">
                <a:srgbClr val="122141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TextBox 62"/>
          <p:cNvSpPr txBox="1"/>
          <p:nvPr/>
        </p:nvSpPr>
        <p:spPr>
          <a:xfrm>
            <a:off x="826809" y="589490"/>
            <a:ext cx="2202526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4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3D STEPS</a:t>
            </a:r>
            <a:endParaRPr lang="en-US" sz="40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100" name="Group 99"/>
          <p:cNvGrpSpPr/>
          <p:nvPr/>
        </p:nvGrpSpPr>
        <p:grpSpPr>
          <a:xfrm>
            <a:off x="4093856" y="5101721"/>
            <a:ext cx="770544" cy="770544"/>
            <a:chOff x="4264343" y="4972285"/>
            <a:chExt cx="770544" cy="770544"/>
          </a:xfrm>
        </p:grpSpPr>
        <p:sp>
          <p:nvSpPr>
            <p:cNvPr id="67" name="Snip Single Corner Rectangle 66"/>
            <p:cNvSpPr/>
            <p:nvPr/>
          </p:nvSpPr>
          <p:spPr>
            <a:xfrm>
              <a:off x="4264343" y="4972285"/>
              <a:ext cx="770544" cy="770544"/>
            </a:xfrm>
            <a:prstGeom prst="snip1Rect">
              <a:avLst>
                <a:gd name="adj" fmla="val 26725"/>
              </a:avLst>
            </a:prstGeom>
            <a:gradFill flip="none" rotWithShape="1">
              <a:gsLst>
                <a:gs pos="100000">
                  <a:srgbClr val="F6443B"/>
                </a:gs>
                <a:gs pos="0">
                  <a:srgbClr val="F9857F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74" name="Group 73"/>
            <p:cNvGrpSpPr/>
            <p:nvPr/>
          </p:nvGrpSpPr>
          <p:grpSpPr>
            <a:xfrm>
              <a:off x="4459991" y="5172147"/>
              <a:ext cx="379248" cy="370820"/>
              <a:chOff x="7600950" y="3048000"/>
              <a:chExt cx="285750" cy="279400"/>
            </a:xfrm>
            <a:solidFill>
              <a:schemeClr val="bg1"/>
            </a:solidFill>
            <a:effectLst/>
          </p:grpSpPr>
          <p:sp>
            <p:nvSpPr>
              <p:cNvPr id="75" name="Freeform 3039"/>
              <p:cNvSpPr>
                <a:spLocks/>
              </p:cNvSpPr>
              <p:nvPr/>
            </p:nvSpPr>
            <p:spPr bwMode="auto">
              <a:xfrm>
                <a:off x="7681913" y="3048000"/>
                <a:ext cx="123825" cy="128588"/>
              </a:xfrm>
              <a:custGeom>
                <a:avLst/>
                <a:gdLst>
                  <a:gd name="T0" fmla="*/ 263 w 310"/>
                  <a:gd name="T1" fmla="*/ 323 h 323"/>
                  <a:gd name="T2" fmla="*/ 268 w 310"/>
                  <a:gd name="T3" fmla="*/ 323 h 323"/>
                  <a:gd name="T4" fmla="*/ 271 w 310"/>
                  <a:gd name="T5" fmla="*/ 321 h 323"/>
                  <a:gd name="T6" fmla="*/ 274 w 310"/>
                  <a:gd name="T7" fmla="*/ 317 h 323"/>
                  <a:gd name="T8" fmla="*/ 275 w 310"/>
                  <a:gd name="T9" fmla="*/ 314 h 323"/>
                  <a:gd name="T10" fmla="*/ 275 w 310"/>
                  <a:gd name="T11" fmla="*/ 310 h 323"/>
                  <a:gd name="T12" fmla="*/ 274 w 310"/>
                  <a:gd name="T13" fmla="*/ 307 h 323"/>
                  <a:gd name="T14" fmla="*/ 231 w 310"/>
                  <a:gd name="T15" fmla="*/ 207 h 323"/>
                  <a:gd name="T16" fmla="*/ 307 w 310"/>
                  <a:gd name="T17" fmla="*/ 141 h 323"/>
                  <a:gd name="T18" fmla="*/ 309 w 310"/>
                  <a:gd name="T19" fmla="*/ 138 h 323"/>
                  <a:gd name="T20" fmla="*/ 310 w 310"/>
                  <a:gd name="T21" fmla="*/ 135 h 323"/>
                  <a:gd name="T22" fmla="*/ 310 w 310"/>
                  <a:gd name="T23" fmla="*/ 132 h 323"/>
                  <a:gd name="T24" fmla="*/ 310 w 310"/>
                  <a:gd name="T25" fmla="*/ 128 h 323"/>
                  <a:gd name="T26" fmla="*/ 308 w 310"/>
                  <a:gd name="T27" fmla="*/ 125 h 323"/>
                  <a:gd name="T28" fmla="*/ 306 w 310"/>
                  <a:gd name="T29" fmla="*/ 122 h 323"/>
                  <a:gd name="T30" fmla="*/ 302 w 310"/>
                  <a:gd name="T31" fmla="*/ 121 h 323"/>
                  <a:gd name="T32" fmla="*/ 299 w 310"/>
                  <a:gd name="T33" fmla="*/ 120 h 323"/>
                  <a:gd name="T34" fmla="*/ 200 w 310"/>
                  <a:gd name="T35" fmla="*/ 120 h 323"/>
                  <a:gd name="T36" fmla="*/ 167 w 310"/>
                  <a:gd name="T37" fmla="*/ 9 h 323"/>
                  <a:gd name="T38" fmla="*/ 165 w 310"/>
                  <a:gd name="T39" fmla="*/ 6 h 323"/>
                  <a:gd name="T40" fmla="*/ 163 w 310"/>
                  <a:gd name="T41" fmla="*/ 2 h 323"/>
                  <a:gd name="T42" fmla="*/ 159 w 310"/>
                  <a:gd name="T43" fmla="*/ 1 h 323"/>
                  <a:gd name="T44" fmla="*/ 156 w 310"/>
                  <a:gd name="T45" fmla="*/ 0 h 323"/>
                  <a:gd name="T46" fmla="*/ 151 w 310"/>
                  <a:gd name="T47" fmla="*/ 1 h 323"/>
                  <a:gd name="T48" fmla="*/ 149 w 310"/>
                  <a:gd name="T49" fmla="*/ 2 h 323"/>
                  <a:gd name="T50" fmla="*/ 145 w 310"/>
                  <a:gd name="T51" fmla="*/ 6 h 323"/>
                  <a:gd name="T52" fmla="*/ 144 w 310"/>
                  <a:gd name="T53" fmla="*/ 9 h 323"/>
                  <a:gd name="T54" fmla="*/ 111 w 310"/>
                  <a:gd name="T55" fmla="*/ 120 h 323"/>
                  <a:gd name="T56" fmla="*/ 12 w 310"/>
                  <a:gd name="T57" fmla="*/ 120 h 323"/>
                  <a:gd name="T58" fmla="*/ 8 w 310"/>
                  <a:gd name="T59" fmla="*/ 121 h 323"/>
                  <a:gd name="T60" fmla="*/ 5 w 310"/>
                  <a:gd name="T61" fmla="*/ 122 h 323"/>
                  <a:gd name="T62" fmla="*/ 2 w 310"/>
                  <a:gd name="T63" fmla="*/ 125 h 323"/>
                  <a:gd name="T64" fmla="*/ 0 w 310"/>
                  <a:gd name="T65" fmla="*/ 128 h 323"/>
                  <a:gd name="T66" fmla="*/ 0 w 310"/>
                  <a:gd name="T67" fmla="*/ 132 h 323"/>
                  <a:gd name="T68" fmla="*/ 0 w 310"/>
                  <a:gd name="T69" fmla="*/ 135 h 323"/>
                  <a:gd name="T70" fmla="*/ 1 w 310"/>
                  <a:gd name="T71" fmla="*/ 138 h 323"/>
                  <a:gd name="T72" fmla="*/ 4 w 310"/>
                  <a:gd name="T73" fmla="*/ 141 h 323"/>
                  <a:gd name="T74" fmla="*/ 81 w 310"/>
                  <a:gd name="T75" fmla="*/ 205 h 323"/>
                  <a:gd name="T76" fmla="*/ 37 w 310"/>
                  <a:gd name="T77" fmla="*/ 307 h 323"/>
                  <a:gd name="T78" fmla="*/ 36 w 310"/>
                  <a:gd name="T79" fmla="*/ 310 h 323"/>
                  <a:gd name="T80" fmla="*/ 36 w 310"/>
                  <a:gd name="T81" fmla="*/ 314 h 323"/>
                  <a:gd name="T82" fmla="*/ 37 w 310"/>
                  <a:gd name="T83" fmla="*/ 317 h 323"/>
                  <a:gd name="T84" fmla="*/ 39 w 310"/>
                  <a:gd name="T85" fmla="*/ 321 h 323"/>
                  <a:gd name="T86" fmla="*/ 43 w 310"/>
                  <a:gd name="T87" fmla="*/ 323 h 323"/>
                  <a:gd name="T88" fmla="*/ 46 w 310"/>
                  <a:gd name="T89" fmla="*/ 323 h 323"/>
                  <a:gd name="T90" fmla="*/ 51 w 310"/>
                  <a:gd name="T91" fmla="*/ 323 h 323"/>
                  <a:gd name="T92" fmla="*/ 55 w 310"/>
                  <a:gd name="T93" fmla="*/ 322 h 323"/>
                  <a:gd name="T94" fmla="*/ 156 w 310"/>
                  <a:gd name="T95" fmla="*/ 254 h 323"/>
                  <a:gd name="T96" fmla="*/ 257 w 310"/>
                  <a:gd name="T97" fmla="*/ 322 h 323"/>
                  <a:gd name="T98" fmla="*/ 259 w 310"/>
                  <a:gd name="T99" fmla="*/ 323 h 323"/>
                  <a:gd name="T100" fmla="*/ 263 w 310"/>
                  <a:gd name="T101" fmla="*/ 323 h 323"/>
                  <a:gd name="T102" fmla="*/ 263 w 310"/>
                  <a:gd name="T103" fmla="*/ 323 h 3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10" h="323">
                    <a:moveTo>
                      <a:pt x="263" y="323"/>
                    </a:moveTo>
                    <a:lnTo>
                      <a:pt x="268" y="323"/>
                    </a:lnTo>
                    <a:lnTo>
                      <a:pt x="271" y="321"/>
                    </a:lnTo>
                    <a:lnTo>
                      <a:pt x="274" y="317"/>
                    </a:lnTo>
                    <a:lnTo>
                      <a:pt x="275" y="314"/>
                    </a:lnTo>
                    <a:lnTo>
                      <a:pt x="275" y="310"/>
                    </a:lnTo>
                    <a:lnTo>
                      <a:pt x="274" y="307"/>
                    </a:lnTo>
                    <a:lnTo>
                      <a:pt x="231" y="207"/>
                    </a:lnTo>
                    <a:lnTo>
                      <a:pt x="307" y="141"/>
                    </a:lnTo>
                    <a:lnTo>
                      <a:pt x="309" y="138"/>
                    </a:lnTo>
                    <a:lnTo>
                      <a:pt x="310" y="135"/>
                    </a:lnTo>
                    <a:lnTo>
                      <a:pt x="310" y="132"/>
                    </a:lnTo>
                    <a:lnTo>
                      <a:pt x="310" y="128"/>
                    </a:lnTo>
                    <a:lnTo>
                      <a:pt x="308" y="125"/>
                    </a:lnTo>
                    <a:lnTo>
                      <a:pt x="306" y="122"/>
                    </a:lnTo>
                    <a:lnTo>
                      <a:pt x="302" y="121"/>
                    </a:lnTo>
                    <a:lnTo>
                      <a:pt x="299" y="120"/>
                    </a:lnTo>
                    <a:lnTo>
                      <a:pt x="200" y="120"/>
                    </a:lnTo>
                    <a:lnTo>
                      <a:pt x="167" y="9"/>
                    </a:lnTo>
                    <a:lnTo>
                      <a:pt x="165" y="6"/>
                    </a:lnTo>
                    <a:lnTo>
                      <a:pt x="163" y="2"/>
                    </a:lnTo>
                    <a:lnTo>
                      <a:pt x="159" y="1"/>
                    </a:lnTo>
                    <a:lnTo>
                      <a:pt x="156" y="0"/>
                    </a:lnTo>
                    <a:lnTo>
                      <a:pt x="151" y="1"/>
                    </a:lnTo>
                    <a:lnTo>
                      <a:pt x="149" y="2"/>
                    </a:lnTo>
                    <a:lnTo>
                      <a:pt x="145" y="6"/>
                    </a:lnTo>
                    <a:lnTo>
                      <a:pt x="144" y="9"/>
                    </a:lnTo>
                    <a:lnTo>
                      <a:pt x="111" y="120"/>
                    </a:lnTo>
                    <a:lnTo>
                      <a:pt x="12" y="120"/>
                    </a:lnTo>
                    <a:lnTo>
                      <a:pt x="8" y="121"/>
                    </a:lnTo>
                    <a:lnTo>
                      <a:pt x="5" y="122"/>
                    </a:lnTo>
                    <a:lnTo>
                      <a:pt x="2" y="125"/>
                    </a:lnTo>
                    <a:lnTo>
                      <a:pt x="0" y="128"/>
                    </a:lnTo>
                    <a:lnTo>
                      <a:pt x="0" y="132"/>
                    </a:lnTo>
                    <a:lnTo>
                      <a:pt x="0" y="135"/>
                    </a:lnTo>
                    <a:lnTo>
                      <a:pt x="1" y="138"/>
                    </a:lnTo>
                    <a:lnTo>
                      <a:pt x="4" y="141"/>
                    </a:lnTo>
                    <a:lnTo>
                      <a:pt x="81" y="205"/>
                    </a:lnTo>
                    <a:lnTo>
                      <a:pt x="37" y="307"/>
                    </a:lnTo>
                    <a:lnTo>
                      <a:pt x="36" y="310"/>
                    </a:lnTo>
                    <a:lnTo>
                      <a:pt x="36" y="314"/>
                    </a:lnTo>
                    <a:lnTo>
                      <a:pt x="37" y="317"/>
                    </a:lnTo>
                    <a:lnTo>
                      <a:pt x="39" y="321"/>
                    </a:lnTo>
                    <a:lnTo>
                      <a:pt x="43" y="323"/>
                    </a:lnTo>
                    <a:lnTo>
                      <a:pt x="46" y="323"/>
                    </a:lnTo>
                    <a:lnTo>
                      <a:pt x="51" y="323"/>
                    </a:lnTo>
                    <a:lnTo>
                      <a:pt x="55" y="322"/>
                    </a:lnTo>
                    <a:lnTo>
                      <a:pt x="156" y="254"/>
                    </a:lnTo>
                    <a:lnTo>
                      <a:pt x="257" y="322"/>
                    </a:lnTo>
                    <a:lnTo>
                      <a:pt x="259" y="323"/>
                    </a:lnTo>
                    <a:lnTo>
                      <a:pt x="263" y="323"/>
                    </a:lnTo>
                    <a:lnTo>
                      <a:pt x="263" y="3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3040"/>
              <p:cNvSpPr>
                <a:spLocks/>
              </p:cNvSpPr>
              <p:nvPr/>
            </p:nvSpPr>
            <p:spPr bwMode="auto">
              <a:xfrm>
                <a:off x="7762875" y="3200400"/>
                <a:ext cx="123825" cy="127000"/>
              </a:xfrm>
              <a:custGeom>
                <a:avLst/>
                <a:gdLst>
                  <a:gd name="T0" fmla="*/ 311 w 312"/>
                  <a:gd name="T1" fmla="*/ 127 h 322"/>
                  <a:gd name="T2" fmla="*/ 308 w 312"/>
                  <a:gd name="T3" fmla="*/ 124 h 322"/>
                  <a:gd name="T4" fmla="*/ 306 w 312"/>
                  <a:gd name="T5" fmla="*/ 121 h 322"/>
                  <a:gd name="T6" fmla="*/ 304 w 312"/>
                  <a:gd name="T7" fmla="*/ 120 h 322"/>
                  <a:gd name="T8" fmla="*/ 300 w 312"/>
                  <a:gd name="T9" fmla="*/ 119 h 322"/>
                  <a:gd name="T10" fmla="*/ 200 w 312"/>
                  <a:gd name="T11" fmla="*/ 119 h 322"/>
                  <a:gd name="T12" fmla="*/ 167 w 312"/>
                  <a:gd name="T13" fmla="*/ 8 h 322"/>
                  <a:gd name="T14" fmla="*/ 166 w 312"/>
                  <a:gd name="T15" fmla="*/ 5 h 322"/>
                  <a:gd name="T16" fmla="*/ 163 w 312"/>
                  <a:gd name="T17" fmla="*/ 2 h 322"/>
                  <a:gd name="T18" fmla="*/ 160 w 312"/>
                  <a:gd name="T19" fmla="*/ 0 h 322"/>
                  <a:gd name="T20" fmla="*/ 156 w 312"/>
                  <a:gd name="T21" fmla="*/ 0 h 322"/>
                  <a:gd name="T22" fmla="*/ 153 w 312"/>
                  <a:gd name="T23" fmla="*/ 0 h 322"/>
                  <a:gd name="T24" fmla="*/ 149 w 312"/>
                  <a:gd name="T25" fmla="*/ 2 h 322"/>
                  <a:gd name="T26" fmla="*/ 146 w 312"/>
                  <a:gd name="T27" fmla="*/ 5 h 322"/>
                  <a:gd name="T28" fmla="*/ 144 w 312"/>
                  <a:gd name="T29" fmla="*/ 8 h 322"/>
                  <a:gd name="T30" fmla="*/ 111 w 312"/>
                  <a:gd name="T31" fmla="*/ 119 h 322"/>
                  <a:gd name="T32" fmla="*/ 12 w 312"/>
                  <a:gd name="T33" fmla="*/ 119 h 322"/>
                  <a:gd name="T34" fmla="*/ 9 w 312"/>
                  <a:gd name="T35" fmla="*/ 120 h 322"/>
                  <a:gd name="T36" fmla="*/ 5 w 312"/>
                  <a:gd name="T37" fmla="*/ 121 h 322"/>
                  <a:gd name="T38" fmla="*/ 3 w 312"/>
                  <a:gd name="T39" fmla="*/ 124 h 322"/>
                  <a:gd name="T40" fmla="*/ 0 w 312"/>
                  <a:gd name="T41" fmla="*/ 127 h 322"/>
                  <a:gd name="T42" fmla="*/ 0 w 312"/>
                  <a:gd name="T43" fmla="*/ 131 h 322"/>
                  <a:gd name="T44" fmla="*/ 0 w 312"/>
                  <a:gd name="T45" fmla="*/ 134 h 322"/>
                  <a:gd name="T46" fmla="*/ 2 w 312"/>
                  <a:gd name="T47" fmla="*/ 138 h 322"/>
                  <a:gd name="T48" fmla="*/ 4 w 312"/>
                  <a:gd name="T49" fmla="*/ 140 h 322"/>
                  <a:gd name="T50" fmla="*/ 81 w 312"/>
                  <a:gd name="T51" fmla="*/ 204 h 322"/>
                  <a:gd name="T52" fmla="*/ 37 w 312"/>
                  <a:gd name="T53" fmla="*/ 306 h 322"/>
                  <a:gd name="T54" fmla="*/ 36 w 312"/>
                  <a:gd name="T55" fmla="*/ 309 h 322"/>
                  <a:gd name="T56" fmla="*/ 36 w 312"/>
                  <a:gd name="T57" fmla="*/ 314 h 322"/>
                  <a:gd name="T58" fmla="*/ 38 w 312"/>
                  <a:gd name="T59" fmla="*/ 317 h 322"/>
                  <a:gd name="T60" fmla="*/ 41 w 312"/>
                  <a:gd name="T61" fmla="*/ 320 h 322"/>
                  <a:gd name="T62" fmla="*/ 43 w 312"/>
                  <a:gd name="T63" fmla="*/ 322 h 322"/>
                  <a:gd name="T64" fmla="*/ 48 w 312"/>
                  <a:gd name="T65" fmla="*/ 322 h 322"/>
                  <a:gd name="T66" fmla="*/ 52 w 312"/>
                  <a:gd name="T67" fmla="*/ 322 h 322"/>
                  <a:gd name="T68" fmla="*/ 55 w 312"/>
                  <a:gd name="T69" fmla="*/ 321 h 322"/>
                  <a:gd name="T70" fmla="*/ 156 w 312"/>
                  <a:gd name="T71" fmla="*/ 253 h 322"/>
                  <a:gd name="T72" fmla="*/ 257 w 312"/>
                  <a:gd name="T73" fmla="*/ 321 h 322"/>
                  <a:gd name="T74" fmla="*/ 260 w 312"/>
                  <a:gd name="T75" fmla="*/ 322 h 322"/>
                  <a:gd name="T76" fmla="*/ 263 w 312"/>
                  <a:gd name="T77" fmla="*/ 322 h 322"/>
                  <a:gd name="T78" fmla="*/ 268 w 312"/>
                  <a:gd name="T79" fmla="*/ 322 h 322"/>
                  <a:gd name="T80" fmla="*/ 272 w 312"/>
                  <a:gd name="T81" fmla="*/ 320 h 322"/>
                  <a:gd name="T82" fmla="*/ 274 w 312"/>
                  <a:gd name="T83" fmla="*/ 317 h 322"/>
                  <a:gd name="T84" fmla="*/ 275 w 312"/>
                  <a:gd name="T85" fmla="*/ 314 h 322"/>
                  <a:gd name="T86" fmla="*/ 275 w 312"/>
                  <a:gd name="T87" fmla="*/ 310 h 322"/>
                  <a:gd name="T88" fmla="*/ 275 w 312"/>
                  <a:gd name="T89" fmla="*/ 306 h 322"/>
                  <a:gd name="T90" fmla="*/ 231 w 312"/>
                  <a:gd name="T91" fmla="*/ 207 h 322"/>
                  <a:gd name="T92" fmla="*/ 307 w 312"/>
                  <a:gd name="T93" fmla="*/ 140 h 322"/>
                  <a:gd name="T94" fmla="*/ 310 w 312"/>
                  <a:gd name="T95" fmla="*/ 138 h 322"/>
                  <a:gd name="T96" fmla="*/ 311 w 312"/>
                  <a:gd name="T97" fmla="*/ 134 h 322"/>
                  <a:gd name="T98" fmla="*/ 312 w 312"/>
                  <a:gd name="T99" fmla="*/ 131 h 322"/>
                  <a:gd name="T100" fmla="*/ 311 w 312"/>
                  <a:gd name="T101" fmla="*/ 127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12" h="322">
                    <a:moveTo>
                      <a:pt x="311" y="127"/>
                    </a:moveTo>
                    <a:lnTo>
                      <a:pt x="308" y="124"/>
                    </a:lnTo>
                    <a:lnTo>
                      <a:pt x="306" y="121"/>
                    </a:lnTo>
                    <a:lnTo>
                      <a:pt x="304" y="120"/>
                    </a:lnTo>
                    <a:lnTo>
                      <a:pt x="300" y="119"/>
                    </a:lnTo>
                    <a:lnTo>
                      <a:pt x="200" y="119"/>
                    </a:lnTo>
                    <a:lnTo>
                      <a:pt x="167" y="8"/>
                    </a:lnTo>
                    <a:lnTo>
                      <a:pt x="166" y="5"/>
                    </a:lnTo>
                    <a:lnTo>
                      <a:pt x="163" y="2"/>
                    </a:lnTo>
                    <a:lnTo>
                      <a:pt x="160" y="0"/>
                    </a:lnTo>
                    <a:lnTo>
                      <a:pt x="156" y="0"/>
                    </a:lnTo>
                    <a:lnTo>
                      <a:pt x="153" y="0"/>
                    </a:lnTo>
                    <a:lnTo>
                      <a:pt x="149" y="2"/>
                    </a:lnTo>
                    <a:lnTo>
                      <a:pt x="146" y="5"/>
                    </a:lnTo>
                    <a:lnTo>
                      <a:pt x="144" y="8"/>
                    </a:lnTo>
                    <a:lnTo>
                      <a:pt x="111" y="119"/>
                    </a:lnTo>
                    <a:lnTo>
                      <a:pt x="12" y="119"/>
                    </a:lnTo>
                    <a:lnTo>
                      <a:pt x="9" y="120"/>
                    </a:lnTo>
                    <a:lnTo>
                      <a:pt x="5" y="121"/>
                    </a:lnTo>
                    <a:lnTo>
                      <a:pt x="3" y="124"/>
                    </a:lnTo>
                    <a:lnTo>
                      <a:pt x="0" y="127"/>
                    </a:lnTo>
                    <a:lnTo>
                      <a:pt x="0" y="131"/>
                    </a:lnTo>
                    <a:lnTo>
                      <a:pt x="0" y="134"/>
                    </a:lnTo>
                    <a:lnTo>
                      <a:pt x="2" y="138"/>
                    </a:lnTo>
                    <a:lnTo>
                      <a:pt x="4" y="140"/>
                    </a:lnTo>
                    <a:lnTo>
                      <a:pt x="81" y="204"/>
                    </a:lnTo>
                    <a:lnTo>
                      <a:pt x="37" y="306"/>
                    </a:lnTo>
                    <a:lnTo>
                      <a:pt x="36" y="309"/>
                    </a:lnTo>
                    <a:lnTo>
                      <a:pt x="36" y="314"/>
                    </a:lnTo>
                    <a:lnTo>
                      <a:pt x="38" y="317"/>
                    </a:lnTo>
                    <a:lnTo>
                      <a:pt x="41" y="320"/>
                    </a:lnTo>
                    <a:lnTo>
                      <a:pt x="43" y="322"/>
                    </a:lnTo>
                    <a:lnTo>
                      <a:pt x="48" y="322"/>
                    </a:lnTo>
                    <a:lnTo>
                      <a:pt x="52" y="322"/>
                    </a:lnTo>
                    <a:lnTo>
                      <a:pt x="55" y="321"/>
                    </a:lnTo>
                    <a:lnTo>
                      <a:pt x="156" y="253"/>
                    </a:lnTo>
                    <a:lnTo>
                      <a:pt x="257" y="321"/>
                    </a:lnTo>
                    <a:lnTo>
                      <a:pt x="260" y="322"/>
                    </a:lnTo>
                    <a:lnTo>
                      <a:pt x="263" y="322"/>
                    </a:lnTo>
                    <a:lnTo>
                      <a:pt x="268" y="322"/>
                    </a:lnTo>
                    <a:lnTo>
                      <a:pt x="272" y="320"/>
                    </a:lnTo>
                    <a:lnTo>
                      <a:pt x="274" y="317"/>
                    </a:lnTo>
                    <a:lnTo>
                      <a:pt x="275" y="314"/>
                    </a:lnTo>
                    <a:lnTo>
                      <a:pt x="275" y="310"/>
                    </a:lnTo>
                    <a:lnTo>
                      <a:pt x="275" y="306"/>
                    </a:lnTo>
                    <a:lnTo>
                      <a:pt x="231" y="207"/>
                    </a:lnTo>
                    <a:lnTo>
                      <a:pt x="307" y="140"/>
                    </a:lnTo>
                    <a:lnTo>
                      <a:pt x="310" y="138"/>
                    </a:lnTo>
                    <a:lnTo>
                      <a:pt x="311" y="134"/>
                    </a:lnTo>
                    <a:lnTo>
                      <a:pt x="312" y="131"/>
                    </a:lnTo>
                    <a:lnTo>
                      <a:pt x="311" y="1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3041"/>
              <p:cNvSpPr>
                <a:spLocks/>
              </p:cNvSpPr>
              <p:nvPr/>
            </p:nvSpPr>
            <p:spPr bwMode="auto">
              <a:xfrm>
                <a:off x="7600950" y="3200400"/>
                <a:ext cx="123825" cy="127000"/>
              </a:xfrm>
              <a:custGeom>
                <a:avLst/>
                <a:gdLst>
                  <a:gd name="T0" fmla="*/ 300 w 312"/>
                  <a:gd name="T1" fmla="*/ 119 h 322"/>
                  <a:gd name="T2" fmla="*/ 201 w 312"/>
                  <a:gd name="T3" fmla="*/ 119 h 322"/>
                  <a:gd name="T4" fmla="*/ 168 w 312"/>
                  <a:gd name="T5" fmla="*/ 8 h 322"/>
                  <a:gd name="T6" fmla="*/ 167 w 312"/>
                  <a:gd name="T7" fmla="*/ 5 h 322"/>
                  <a:gd name="T8" fmla="*/ 163 w 312"/>
                  <a:gd name="T9" fmla="*/ 2 h 322"/>
                  <a:gd name="T10" fmla="*/ 161 w 312"/>
                  <a:gd name="T11" fmla="*/ 0 h 322"/>
                  <a:gd name="T12" fmla="*/ 156 w 312"/>
                  <a:gd name="T13" fmla="*/ 0 h 322"/>
                  <a:gd name="T14" fmla="*/ 153 w 312"/>
                  <a:gd name="T15" fmla="*/ 0 h 322"/>
                  <a:gd name="T16" fmla="*/ 149 w 312"/>
                  <a:gd name="T17" fmla="*/ 2 h 322"/>
                  <a:gd name="T18" fmla="*/ 147 w 312"/>
                  <a:gd name="T19" fmla="*/ 5 h 322"/>
                  <a:gd name="T20" fmla="*/ 146 w 312"/>
                  <a:gd name="T21" fmla="*/ 8 h 322"/>
                  <a:gd name="T22" fmla="*/ 112 w 312"/>
                  <a:gd name="T23" fmla="*/ 119 h 322"/>
                  <a:gd name="T24" fmla="*/ 13 w 312"/>
                  <a:gd name="T25" fmla="*/ 119 h 322"/>
                  <a:gd name="T26" fmla="*/ 9 w 312"/>
                  <a:gd name="T27" fmla="*/ 120 h 322"/>
                  <a:gd name="T28" fmla="*/ 6 w 312"/>
                  <a:gd name="T29" fmla="*/ 121 h 322"/>
                  <a:gd name="T30" fmla="*/ 4 w 312"/>
                  <a:gd name="T31" fmla="*/ 124 h 322"/>
                  <a:gd name="T32" fmla="*/ 2 w 312"/>
                  <a:gd name="T33" fmla="*/ 127 h 322"/>
                  <a:gd name="T34" fmla="*/ 0 w 312"/>
                  <a:gd name="T35" fmla="*/ 131 h 322"/>
                  <a:gd name="T36" fmla="*/ 2 w 312"/>
                  <a:gd name="T37" fmla="*/ 134 h 322"/>
                  <a:gd name="T38" fmla="*/ 3 w 312"/>
                  <a:gd name="T39" fmla="*/ 138 h 322"/>
                  <a:gd name="T40" fmla="*/ 5 w 312"/>
                  <a:gd name="T41" fmla="*/ 140 h 322"/>
                  <a:gd name="T42" fmla="*/ 82 w 312"/>
                  <a:gd name="T43" fmla="*/ 204 h 322"/>
                  <a:gd name="T44" fmla="*/ 38 w 312"/>
                  <a:gd name="T45" fmla="*/ 306 h 322"/>
                  <a:gd name="T46" fmla="*/ 37 w 312"/>
                  <a:gd name="T47" fmla="*/ 309 h 322"/>
                  <a:gd name="T48" fmla="*/ 37 w 312"/>
                  <a:gd name="T49" fmla="*/ 314 h 322"/>
                  <a:gd name="T50" fmla="*/ 38 w 312"/>
                  <a:gd name="T51" fmla="*/ 317 h 322"/>
                  <a:gd name="T52" fmla="*/ 41 w 312"/>
                  <a:gd name="T53" fmla="*/ 320 h 322"/>
                  <a:gd name="T54" fmla="*/ 44 w 312"/>
                  <a:gd name="T55" fmla="*/ 322 h 322"/>
                  <a:gd name="T56" fmla="*/ 48 w 312"/>
                  <a:gd name="T57" fmla="*/ 322 h 322"/>
                  <a:gd name="T58" fmla="*/ 52 w 312"/>
                  <a:gd name="T59" fmla="*/ 322 h 322"/>
                  <a:gd name="T60" fmla="*/ 55 w 312"/>
                  <a:gd name="T61" fmla="*/ 321 h 322"/>
                  <a:gd name="T62" fmla="*/ 156 w 312"/>
                  <a:gd name="T63" fmla="*/ 253 h 322"/>
                  <a:gd name="T64" fmla="*/ 257 w 312"/>
                  <a:gd name="T65" fmla="*/ 321 h 322"/>
                  <a:gd name="T66" fmla="*/ 261 w 312"/>
                  <a:gd name="T67" fmla="*/ 322 h 322"/>
                  <a:gd name="T68" fmla="*/ 264 w 312"/>
                  <a:gd name="T69" fmla="*/ 322 h 322"/>
                  <a:gd name="T70" fmla="*/ 268 w 312"/>
                  <a:gd name="T71" fmla="*/ 322 h 322"/>
                  <a:gd name="T72" fmla="*/ 272 w 312"/>
                  <a:gd name="T73" fmla="*/ 320 h 322"/>
                  <a:gd name="T74" fmla="*/ 275 w 312"/>
                  <a:gd name="T75" fmla="*/ 317 h 322"/>
                  <a:gd name="T76" fmla="*/ 276 w 312"/>
                  <a:gd name="T77" fmla="*/ 314 h 322"/>
                  <a:gd name="T78" fmla="*/ 276 w 312"/>
                  <a:gd name="T79" fmla="*/ 310 h 322"/>
                  <a:gd name="T80" fmla="*/ 275 w 312"/>
                  <a:gd name="T81" fmla="*/ 306 h 322"/>
                  <a:gd name="T82" fmla="*/ 231 w 312"/>
                  <a:gd name="T83" fmla="*/ 207 h 322"/>
                  <a:gd name="T84" fmla="*/ 308 w 312"/>
                  <a:gd name="T85" fmla="*/ 140 h 322"/>
                  <a:gd name="T86" fmla="*/ 311 w 312"/>
                  <a:gd name="T87" fmla="*/ 138 h 322"/>
                  <a:gd name="T88" fmla="*/ 312 w 312"/>
                  <a:gd name="T89" fmla="*/ 134 h 322"/>
                  <a:gd name="T90" fmla="*/ 312 w 312"/>
                  <a:gd name="T91" fmla="*/ 131 h 322"/>
                  <a:gd name="T92" fmla="*/ 312 w 312"/>
                  <a:gd name="T93" fmla="*/ 127 h 322"/>
                  <a:gd name="T94" fmla="*/ 310 w 312"/>
                  <a:gd name="T95" fmla="*/ 124 h 322"/>
                  <a:gd name="T96" fmla="*/ 307 w 312"/>
                  <a:gd name="T97" fmla="*/ 121 h 322"/>
                  <a:gd name="T98" fmla="*/ 304 w 312"/>
                  <a:gd name="T99" fmla="*/ 120 h 322"/>
                  <a:gd name="T100" fmla="*/ 300 w 312"/>
                  <a:gd name="T101" fmla="*/ 119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12" h="322">
                    <a:moveTo>
                      <a:pt x="300" y="119"/>
                    </a:moveTo>
                    <a:lnTo>
                      <a:pt x="201" y="119"/>
                    </a:lnTo>
                    <a:lnTo>
                      <a:pt x="168" y="8"/>
                    </a:lnTo>
                    <a:lnTo>
                      <a:pt x="167" y="5"/>
                    </a:lnTo>
                    <a:lnTo>
                      <a:pt x="163" y="2"/>
                    </a:lnTo>
                    <a:lnTo>
                      <a:pt x="161" y="0"/>
                    </a:lnTo>
                    <a:lnTo>
                      <a:pt x="156" y="0"/>
                    </a:lnTo>
                    <a:lnTo>
                      <a:pt x="153" y="0"/>
                    </a:lnTo>
                    <a:lnTo>
                      <a:pt x="149" y="2"/>
                    </a:lnTo>
                    <a:lnTo>
                      <a:pt x="147" y="5"/>
                    </a:lnTo>
                    <a:lnTo>
                      <a:pt x="146" y="8"/>
                    </a:lnTo>
                    <a:lnTo>
                      <a:pt x="112" y="119"/>
                    </a:lnTo>
                    <a:lnTo>
                      <a:pt x="13" y="119"/>
                    </a:lnTo>
                    <a:lnTo>
                      <a:pt x="9" y="120"/>
                    </a:lnTo>
                    <a:lnTo>
                      <a:pt x="6" y="121"/>
                    </a:lnTo>
                    <a:lnTo>
                      <a:pt x="4" y="124"/>
                    </a:lnTo>
                    <a:lnTo>
                      <a:pt x="2" y="127"/>
                    </a:lnTo>
                    <a:lnTo>
                      <a:pt x="0" y="131"/>
                    </a:lnTo>
                    <a:lnTo>
                      <a:pt x="2" y="134"/>
                    </a:lnTo>
                    <a:lnTo>
                      <a:pt x="3" y="138"/>
                    </a:lnTo>
                    <a:lnTo>
                      <a:pt x="5" y="140"/>
                    </a:lnTo>
                    <a:lnTo>
                      <a:pt x="82" y="204"/>
                    </a:lnTo>
                    <a:lnTo>
                      <a:pt x="38" y="306"/>
                    </a:lnTo>
                    <a:lnTo>
                      <a:pt x="37" y="309"/>
                    </a:lnTo>
                    <a:lnTo>
                      <a:pt x="37" y="314"/>
                    </a:lnTo>
                    <a:lnTo>
                      <a:pt x="38" y="317"/>
                    </a:lnTo>
                    <a:lnTo>
                      <a:pt x="41" y="320"/>
                    </a:lnTo>
                    <a:lnTo>
                      <a:pt x="44" y="322"/>
                    </a:lnTo>
                    <a:lnTo>
                      <a:pt x="48" y="322"/>
                    </a:lnTo>
                    <a:lnTo>
                      <a:pt x="52" y="322"/>
                    </a:lnTo>
                    <a:lnTo>
                      <a:pt x="55" y="321"/>
                    </a:lnTo>
                    <a:lnTo>
                      <a:pt x="156" y="253"/>
                    </a:lnTo>
                    <a:lnTo>
                      <a:pt x="257" y="321"/>
                    </a:lnTo>
                    <a:lnTo>
                      <a:pt x="261" y="322"/>
                    </a:lnTo>
                    <a:lnTo>
                      <a:pt x="264" y="322"/>
                    </a:lnTo>
                    <a:lnTo>
                      <a:pt x="268" y="322"/>
                    </a:lnTo>
                    <a:lnTo>
                      <a:pt x="272" y="320"/>
                    </a:lnTo>
                    <a:lnTo>
                      <a:pt x="275" y="317"/>
                    </a:lnTo>
                    <a:lnTo>
                      <a:pt x="276" y="314"/>
                    </a:lnTo>
                    <a:lnTo>
                      <a:pt x="276" y="310"/>
                    </a:lnTo>
                    <a:lnTo>
                      <a:pt x="275" y="306"/>
                    </a:lnTo>
                    <a:lnTo>
                      <a:pt x="231" y="207"/>
                    </a:lnTo>
                    <a:lnTo>
                      <a:pt x="308" y="140"/>
                    </a:lnTo>
                    <a:lnTo>
                      <a:pt x="311" y="138"/>
                    </a:lnTo>
                    <a:lnTo>
                      <a:pt x="312" y="134"/>
                    </a:lnTo>
                    <a:lnTo>
                      <a:pt x="312" y="131"/>
                    </a:lnTo>
                    <a:lnTo>
                      <a:pt x="312" y="127"/>
                    </a:lnTo>
                    <a:lnTo>
                      <a:pt x="310" y="124"/>
                    </a:lnTo>
                    <a:lnTo>
                      <a:pt x="307" y="121"/>
                    </a:lnTo>
                    <a:lnTo>
                      <a:pt x="304" y="120"/>
                    </a:lnTo>
                    <a:lnTo>
                      <a:pt x="300" y="1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01" name="Group 100"/>
          <p:cNvGrpSpPr/>
          <p:nvPr/>
        </p:nvGrpSpPr>
        <p:grpSpPr>
          <a:xfrm>
            <a:off x="5389715" y="4090995"/>
            <a:ext cx="770544" cy="770544"/>
            <a:chOff x="5499572" y="3869487"/>
            <a:chExt cx="770544" cy="770544"/>
          </a:xfrm>
        </p:grpSpPr>
        <p:sp>
          <p:nvSpPr>
            <p:cNvPr id="91" name="Snip Single Corner Rectangle 90"/>
            <p:cNvSpPr/>
            <p:nvPr/>
          </p:nvSpPr>
          <p:spPr>
            <a:xfrm>
              <a:off x="5499572" y="3869487"/>
              <a:ext cx="770544" cy="770544"/>
            </a:xfrm>
            <a:prstGeom prst="snip1Rect">
              <a:avLst>
                <a:gd name="adj" fmla="val 26725"/>
              </a:avLst>
            </a:prstGeom>
            <a:gradFill flip="none" rotWithShape="1">
              <a:gsLst>
                <a:gs pos="100000">
                  <a:srgbClr val="69AFC0"/>
                </a:gs>
                <a:gs pos="0">
                  <a:srgbClr val="125680"/>
                </a:gs>
              </a:gsLst>
              <a:lin ang="27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4" name="Freeform 3391"/>
            <p:cNvSpPr>
              <a:spLocks noEditPoints="1"/>
            </p:cNvSpPr>
            <p:nvPr/>
          </p:nvSpPr>
          <p:spPr bwMode="auto">
            <a:xfrm>
              <a:off x="5695220" y="4065135"/>
              <a:ext cx="379248" cy="379248"/>
            </a:xfrm>
            <a:custGeom>
              <a:avLst/>
              <a:gdLst>
                <a:gd name="T0" fmla="*/ 400 w 721"/>
                <a:gd name="T1" fmla="*/ 502 h 721"/>
                <a:gd name="T2" fmla="*/ 441 w 721"/>
                <a:gd name="T3" fmla="*/ 487 h 721"/>
                <a:gd name="T4" fmla="*/ 456 w 721"/>
                <a:gd name="T5" fmla="*/ 469 h 721"/>
                <a:gd name="T6" fmla="*/ 477 w 721"/>
                <a:gd name="T7" fmla="*/ 475 h 721"/>
                <a:gd name="T8" fmla="*/ 498 w 721"/>
                <a:gd name="T9" fmla="*/ 505 h 721"/>
                <a:gd name="T10" fmla="*/ 361 w 721"/>
                <a:gd name="T11" fmla="*/ 709 h 721"/>
                <a:gd name="T12" fmla="*/ 315 w 721"/>
                <a:gd name="T13" fmla="*/ 654 h 721"/>
                <a:gd name="T14" fmla="*/ 347 w 721"/>
                <a:gd name="T15" fmla="*/ 606 h 721"/>
                <a:gd name="T16" fmla="*/ 365 w 721"/>
                <a:gd name="T17" fmla="*/ 601 h 721"/>
                <a:gd name="T18" fmla="*/ 387 w 721"/>
                <a:gd name="T19" fmla="*/ 623 h 721"/>
                <a:gd name="T20" fmla="*/ 415 w 721"/>
                <a:gd name="T21" fmla="*/ 691 h 721"/>
                <a:gd name="T22" fmla="*/ 225 w 721"/>
                <a:gd name="T23" fmla="*/ 505 h 721"/>
                <a:gd name="T24" fmla="*/ 245 w 721"/>
                <a:gd name="T25" fmla="*/ 477 h 721"/>
                <a:gd name="T26" fmla="*/ 265 w 721"/>
                <a:gd name="T27" fmla="*/ 469 h 721"/>
                <a:gd name="T28" fmla="*/ 280 w 721"/>
                <a:gd name="T29" fmla="*/ 487 h 721"/>
                <a:gd name="T30" fmla="*/ 321 w 721"/>
                <a:gd name="T31" fmla="*/ 502 h 721"/>
                <a:gd name="T32" fmla="*/ 222 w 721"/>
                <a:gd name="T33" fmla="*/ 511 h 721"/>
                <a:gd name="T34" fmla="*/ 397 w 721"/>
                <a:gd name="T35" fmla="*/ 541 h 721"/>
                <a:gd name="T36" fmla="*/ 385 w 721"/>
                <a:gd name="T37" fmla="*/ 565 h 721"/>
                <a:gd name="T38" fmla="*/ 361 w 721"/>
                <a:gd name="T39" fmla="*/ 577 h 721"/>
                <a:gd name="T40" fmla="*/ 335 w 721"/>
                <a:gd name="T41" fmla="*/ 565 h 721"/>
                <a:gd name="T42" fmla="*/ 325 w 721"/>
                <a:gd name="T43" fmla="*/ 541 h 721"/>
                <a:gd name="T44" fmla="*/ 681 w 721"/>
                <a:gd name="T45" fmla="*/ 552 h 721"/>
                <a:gd name="T46" fmla="*/ 633 w 721"/>
                <a:gd name="T47" fmla="*/ 522 h 721"/>
                <a:gd name="T48" fmla="*/ 524 w 721"/>
                <a:gd name="T49" fmla="*/ 477 h 721"/>
                <a:gd name="T50" fmla="*/ 484 w 721"/>
                <a:gd name="T51" fmla="*/ 448 h 721"/>
                <a:gd name="T52" fmla="*/ 457 w 721"/>
                <a:gd name="T53" fmla="*/ 433 h 721"/>
                <a:gd name="T54" fmla="*/ 466 w 721"/>
                <a:gd name="T55" fmla="*/ 366 h 721"/>
                <a:gd name="T56" fmla="*/ 489 w 721"/>
                <a:gd name="T57" fmla="*/ 322 h 721"/>
                <a:gd name="T58" fmla="*/ 504 w 721"/>
                <a:gd name="T59" fmla="*/ 279 h 721"/>
                <a:gd name="T60" fmla="*/ 513 w 721"/>
                <a:gd name="T61" fmla="*/ 247 h 721"/>
                <a:gd name="T62" fmla="*/ 506 w 721"/>
                <a:gd name="T63" fmla="*/ 215 h 721"/>
                <a:gd name="T64" fmla="*/ 501 w 721"/>
                <a:gd name="T65" fmla="*/ 193 h 721"/>
                <a:gd name="T66" fmla="*/ 527 w 721"/>
                <a:gd name="T67" fmla="*/ 102 h 721"/>
                <a:gd name="T68" fmla="*/ 519 w 721"/>
                <a:gd name="T69" fmla="*/ 51 h 721"/>
                <a:gd name="T70" fmla="*/ 493 w 721"/>
                <a:gd name="T71" fmla="*/ 26 h 721"/>
                <a:gd name="T72" fmla="*/ 453 w 721"/>
                <a:gd name="T73" fmla="*/ 9 h 721"/>
                <a:gd name="T74" fmla="*/ 383 w 721"/>
                <a:gd name="T75" fmla="*/ 0 h 721"/>
                <a:gd name="T76" fmla="*/ 311 w 721"/>
                <a:gd name="T77" fmla="*/ 9 h 721"/>
                <a:gd name="T78" fmla="*/ 271 w 721"/>
                <a:gd name="T79" fmla="*/ 32 h 721"/>
                <a:gd name="T80" fmla="*/ 239 w 721"/>
                <a:gd name="T81" fmla="*/ 50 h 721"/>
                <a:gd name="T82" fmla="*/ 222 w 721"/>
                <a:gd name="T83" fmla="*/ 66 h 721"/>
                <a:gd name="T84" fmla="*/ 211 w 721"/>
                <a:gd name="T85" fmla="*/ 95 h 721"/>
                <a:gd name="T86" fmla="*/ 217 w 721"/>
                <a:gd name="T87" fmla="*/ 164 h 721"/>
                <a:gd name="T88" fmla="*/ 227 w 721"/>
                <a:gd name="T89" fmla="*/ 202 h 721"/>
                <a:gd name="T90" fmla="*/ 212 w 721"/>
                <a:gd name="T91" fmla="*/ 230 h 721"/>
                <a:gd name="T92" fmla="*/ 213 w 721"/>
                <a:gd name="T93" fmla="*/ 263 h 721"/>
                <a:gd name="T94" fmla="*/ 229 w 721"/>
                <a:gd name="T95" fmla="*/ 290 h 721"/>
                <a:gd name="T96" fmla="*/ 243 w 721"/>
                <a:gd name="T97" fmla="*/ 348 h 721"/>
                <a:gd name="T98" fmla="*/ 265 w 721"/>
                <a:gd name="T99" fmla="*/ 378 h 721"/>
                <a:gd name="T100" fmla="*/ 249 w 721"/>
                <a:gd name="T101" fmla="*/ 441 h 721"/>
                <a:gd name="T102" fmla="*/ 209 w 721"/>
                <a:gd name="T103" fmla="*/ 473 h 721"/>
                <a:gd name="T104" fmla="*/ 134 w 721"/>
                <a:gd name="T105" fmla="*/ 502 h 721"/>
                <a:gd name="T106" fmla="*/ 50 w 721"/>
                <a:gd name="T107" fmla="*/ 547 h 721"/>
                <a:gd name="T108" fmla="*/ 28 w 721"/>
                <a:gd name="T109" fmla="*/ 573 h 721"/>
                <a:gd name="T110" fmla="*/ 9 w 721"/>
                <a:gd name="T111" fmla="*/ 629 h 721"/>
                <a:gd name="T112" fmla="*/ 0 w 721"/>
                <a:gd name="T113" fmla="*/ 713 h 721"/>
                <a:gd name="T114" fmla="*/ 709 w 721"/>
                <a:gd name="T115" fmla="*/ 721 h 721"/>
                <a:gd name="T116" fmla="*/ 721 w 721"/>
                <a:gd name="T117" fmla="*/ 709 h 721"/>
                <a:gd name="T118" fmla="*/ 709 w 721"/>
                <a:gd name="T119" fmla="*/ 606 h 721"/>
                <a:gd name="T120" fmla="*/ 691 w 721"/>
                <a:gd name="T121" fmla="*/ 564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21" h="721">
                  <a:moveTo>
                    <a:pt x="415" y="510"/>
                  </a:moveTo>
                  <a:lnTo>
                    <a:pt x="415" y="510"/>
                  </a:lnTo>
                  <a:lnTo>
                    <a:pt x="415" y="510"/>
                  </a:lnTo>
                  <a:lnTo>
                    <a:pt x="400" y="502"/>
                  </a:lnTo>
                  <a:lnTo>
                    <a:pt x="414" y="498"/>
                  </a:lnTo>
                  <a:lnTo>
                    <a:pt x="428" y="493"/>
                  </a:lnTo>
                  <a:lnTo>
                    <a:pt x="434" y="491"/>
                  </a:lnTo>
                  <a:lnTo>
                    <a:pt x="441" y="487"/>
                  </a:lnTo>
                  <a:lnTo>
                    <a:pt x="447" y="482"/>
                  </a:lnTo>
                  <a:lnTo>
                    <a:pt x="453" y="477"/>
                  </a:lnTo>
                  <a:lnTo>
                    <a:pt x="456" y="473"/>
                  </a:lnTo>
                  <a:lnTo>
                    <a:pt x="456" y="469"/>
                  </a:lnTo>
                  <a:lnTo>
                    <a:pt x="456" y="459"/>
                  </a:lnTo>
                  <a:lnTo>
                    <a:pt x="464" y="462"/>
                  </a:lnTo>
                  <a:lnTo>
                    <a:pt x="470" y="469"/>
                  </a:lnTo>
                  <a:lnTo>
                    <a:pt x="477" y="475"/>
                  </a:lnTo>
                  <a:lnTo>
                    <a:pt x="483" y="482"/>
                  </a:lnTo>
                  <a:lnTo>
                    <a:pt x="489" y="489"/>
                  </a:lnTo>
                  <a:lnTo>
                    <a:pt x="495" y="497"/>
                  </a:lnTo>
                  <a:lnTo>
                    <a:pt x="498" y="505"/>
                  </a:lnTo>
                  <a:lnTo>
                    <a:pt x="501" y="511"/>
                  </a:lnTo>
                  <a:lnTo>
                    <a:pt x="522" y="574"/>
                  </a:lnTo>
                  <a:lnTo>
                    <a:pt x="415" y="510"/>
                  </a:lnTo>
                  <a:close/>
                  <a:moveTo>
                    <a:pt x="361" y="709"/>
                  </a:moveTo>
                  <a:lnTo>
                    <a:pt x="293" y="709"/>
                  </a:lnTo>
                  <a:lnTo>
                    <a:pt x="299" y="691"/>
                  </a:lnTo>
                  <a:lnTo>
                    <a:pt x="306" y="672"/>
                  </a:lnTo>
                  <a:lnTo>
                    <a:pt x="315" y="654"/>
                  </a:lnTo>
                  <a:lnTo>
                    <a:pt x="322" y="637"/>
                  </a:lnTo>
                  <a:lnTo>
                    <a:pt x="333" y="623"/>
                  </a:lnTo>
                  <a:lnTo>
                    <a:pt x="342" y="611"/>
                  </a:lnTo>
                  <a:lnTo>
                    <a:pt x="347" y="606"/>
                  </a:lnTo>
                  <a:lnTo>
                    <a:pt x="351" y="604"/>
                  </a:lnTo>
                  <a:lnTo>
                    <a:pt x="356" y="601"/>
                  </a:lnTo>
                  <a:lnTo>
                    <a:pt x="361" y="601"/>
                  </a:lnTo>
                  <a:lnTo>
                    <a:pt x="365" y="601"/>
                  </a:lnTo>
                  <a:lnTo>
                    <a:pt x="370" y="604"/>
                  </a:lnTo>
                  <a:lnTo>
                    <a:pt x="374" y="606"/>
                  </a:lnTo>
                  <a:lnTo>
                    <a:pt x="379" y="611"/>
                  </a:lnTo>
                  <a:lnTo>
                    <a:pt x="387" y="623"/>
                  </a:lnTo>
                  <a:lnTo>
                    <a:pt x="396" y="637"/>
                  </a:lnTo>
                  <a:lnTo>
                    <a:pt x="403" y="654"/>
                  </a:lnTo>
                  <a:lnTo>
                    <a:pt x="410" y="673"/>
                  </a:lnTo>
                  <a:lnTo>
                    <a:pt x="415" y="691"/>
                  </a:lnTo>
                  <a:lnTo>
                    <a:pt x="420" y="709"/>
                  </a:lnTo>
                  <a:lnTo>
                    <a:pt x="361" y="709"/>
                  </a:lnTo>
                  <a:close/>
                  <a:moveTo>
                    <a:pt x="222" y="511"/>
                  </a:moveTo>
                  <a:lnTo>
                    <a:pt x="225" y="505"/>
                  </a:lnTo>
                  <a:lnTo>
                    <a:pt x="229" y="497"/>
                  </a:lnTo>
                  <a:lnTo>
                    <a:pt x="234" y="489"/>
                  </a:lnTo>
                  <a:lnTo>
                    <a:pt x="239" y="483"/>
                  </a:lnTo>
                  <a:lnTo>
                    <a:pt x="245" y="477"/>
                  </a:lnTo>
                  <a:lnTo>
                    <a:pt x="252" y="470"/>
                  </a:lnTo>
                  <a:lnTo>
                    <a:pt x="258" y="464"/>
                  </a:lnTo>
                  <a:lnTo>
                    <a:pt x="265" y="460"/>
                  </a:lnTo>
                  <a:lnTo>
                    <a:pt x="265" y="469"/>
                  </a:lnTo>
                  <a:lnTo>
                    <a:pt x="265" y="473"/>
                  </a:lnTo>
                  <a:lnTo>
                    <a:pt x="267" y="477"/>
                  </a:lnTo>
                  <a:lnTo>
                    <a:pt x="274" y="482"/>
                  </a:lnTo>
                  <a:lnTo>
                    <a:pt x="280" y="487"/>
                  </a:lnTo>
                  <a:lnTo>
                    <a:pt x="286" y="491"/>
                  </a:lnTo>
                  <a:lnTo>
                    <a:pt x="293" y="493"/>
                  </a:lnTo>
                  <a:lnTo>
                    <a:pt x="307" y="498"/>
                  </a:lnTo>
                  <a:lnTo>
                    <a:pt x="321" y="502"/>
                  </a:lnTo>
                  <a:lnTo>
                    <a:pt x="306" y="511"/>
                  </a:lnTo>
                  <a:lnTo>
                    <a:pt x="306" y="511"/>
                  </a:lnTo>
                  <a:lnTo>
                    <a:pt x="202" y="574"/>
                  </a:lnTo>
                  <a:lnTo>
                    <a:pt x="222" y="511"/>
                  </a:lnTo>
                  <a:close/>
                  <a:moveTo>
                    <a:pt x="325" y="528"/>
                  </a:moveTo>
                  <a:lnTo>
                    <a:pt x="361" y="506"/>
                  </a:lnTo>
                  <a:lnTo>
                    <a:pt x="397" y="528"/>
                  </a:lnTo>
                  <a:lnTo>
                    <a:pt x="397" y="541"/>
                  </a:lnTo>
                  <a:lnTo>
                    <a:pt x="396" y="547"/>
                  </a:lnTo>
                  <a:lnTo>
                    <a:pt x="393" y="554"/>
                  </a:lnTo>
                  <a:lnTo>
                    <a:pt x="391" y="560"/>
                  </a:lnTo>
                  <a:lnTo>
                    <a:pt x="385" y="565"/>
                  </a:lnTo>
                  <a:lnTo>
                    <a:pt x="380" y="570"/>
                  </a:lnTo>
                  <a:lnTo>
                    <a:pt x="374" y="573"/>
                  </a:lnTo>
                  <a:lnTo>
                    <a:pt x="367" y="575"/>
                  </a:lnTo>
                  <a:lnTo>
                    <a:pt x="361" y="577"/>
                  </a:lnTo>
                  <a:lnTo>
                    <a:pt x="353" y="575"/>
                  </a:lnTo>
                  <a:lnTo>
                    <a:pt x="347" y="573"/>
                  </a:lnTo>
                  <a:lnTo>
                    <a:pt x="340" y="570"/>
                  </a:lnTo>
                  <a:lnTo>
                    <a:pt x="335" y="565"/>
                  </a:lnTo>
                  <a:lnTo>
                    <a:pt x="331" y="560"/>
                  </a:lnTo>
                  <a:lnTo>
                    <a:pt x="328" y="554"/>
                  </a:lnTo>
                  <a:lnTo>
                    <a:pt x="325" y="547"/>
                  </a:lnTo>
                  <a:lnTo>
                    <a:pt x="325" y="541"/>
                  </a:lnTo>
                  <a:lnTo>
                    <a:pt x="325" y="528"/>
                  </a:lnTo>
                  <a:close/>
                  <a:moveTo>
                    <a:pt x="691" y="564"/>
                  </a:moveTo>
                  <a:lnTo>
                    <a:pt x="686" y="557"/>
                  </a:lnTo>
                  <a:lnTo>
                    <a:pt x="681" y="552"/>
                  </a:lnTo>
                  <a:lnTo>
                    <a:pt x="674" y="547"/>
                  </a:lnTo>
                  <a:lnTo>
                    <a:pt x="668" y="541"/>
                  </a:lnTo>
                  <a:lnTo>
                    <a:pt x="651" y="531"/>
                  </a:lnTo>
                  <a:lnTo>
                    <a:pt x="633" y="522"/>
                  </a:lnTo>
                  <a:lnTo>
                    <a:pt x="591" y="502"/>
                  </a:lnTo>
                  <a:lnTo>
                    <a:pt x="545" y="484"/>
                  </a:lnTo>
                  <a:lnTo>
                    <a:pt x="534" y="480"/>
                  </a:lnTo>
                  <a:lnTo>
                    <a:pt x="524" y="477"/>
                  </a:lnTo>
                  <a:lnTo>
                    <a:pt x="514" y="473"/>
                  </a:lnTo>
                  <a:lnTo>
                    <a:pt x="504" y="469"/>
                  </a:lnTo>
                  <a:lnTo>
                    <a:pt x="495" y="457"/>
                  </a:lnTo>
                  <a:lnTo>
                    <a:pt x="484" y="448"/>
                  </a:lnTo>
                  <a:lnTo>
                    <a:pt x="473" y="441"/>
                  </a:lnTo>
                  <a:lnTo>
                    <a:pt x="462" y="434"/>
                  </a:lnTo>
                  <a:lnTo>
                    <a:pt x="460" y="433"/>
                  </a:lnTo>
                  <a:lnTo>
                    <a:pt x="457" y="433"/>
                  </a:lnTo>
                  <a:lnTo>
                    <a:pt x="456" y="433"/>
                  </a:lnTo>
                  <a:lnTo>
                    <a:pt x="456" y="378"/>
                  </a:lnTo>
                  <a:lnTo>
                    <a:pt x="461" y="373"/>
                  </a:lnTo>
                  <a:lnTo>
                    <a:pt x="466" y="366"/>
                  </a:lnTo>
                  <a:lnTo>
                    <a:pt x="473" y="358"/>
                  </a:lnTo>
                  <a:lnTo>
                    <a:pt x="479" y="348"/>
                  </a:lnTo>
                  <a:lnTo>
                    <a:pt x="484" y="337"/>
                  </a:lnTo>
                  <a:lnTo>
                    <a:pt x="489" y="322"/>
                  </a:lnTo>
                  <a:lnTo>
                    <a:pt x="492" y="308"/>
                  </a:lnTo>
                  <a:lnTo>
                    <a:pt x="495" y="290"/>
                  </a:lnTo>
                  <a:lnTo>
                    <a:pt x="500" y="285"/>
                  </a:lnTo>
                  <a:lnTo>
                    <a:pt x="504" y="279"/>
                  </a:lnTo>
                  <a:lnTo>
                    <a:pt x="507" y="271"/>
                  </a:lnTo>
                  <a:lnTo>
                    <a:pt x="510" y="262"/>
                  </a:lnTo>
                  <a:lnTo>
                    <a:pt x="511" y="254"/>
                  </a:lnTo>
                  <a:lnTo>
                    <a:pt x="513" y="247"/>
                  </a:lnTo>
                  <a:lnTo>
                    <a:pt x="513" y="238"/>
                  </a:lnTo>
                  <a:lnTo>
                    <a:pt x="511" y="230"/>
                  </a:lnTo>
                  <a:lnTo>
                    <a:pt x="510" y="222"/>
                  </a:lnTo>
                  <a:lnTo>
                    <a:pt x="506" y="215"/>
                  </a:lnTo>
                  <a:lnTo>
                    <a:pt x="502" y="208"/>
                  </a:lnTo>
                  <a:lnTo>
                    <a:pt x="497" y="202"/>
                  </a:lnTo>
                  <a:lnTo>
                    <a:pt x="498" y="198"/>
                  </a:lnTo>
                  <a:lnTo>
                    <a:pt x="501" y="193"/>
                  </a:lnTo>
                  <a:lnTo>
                    <a:pt x="510" y="167"/>
                  </a:lnTo>
                  <a:lnTo>
                    <a:pt x="520" y="135"/>
                  </a:lnTo>
                  <a:lnTo>
                    <a:pt x="524" y="118"/>
                  </a:lnTo>
                  <a:lnTo>
                    <a:pt x="527" y="102"/>
                  </a:lnTo>
                  <a:lnTo>
                    <a:pt x="527" y="85"/>
                  </a:lnTo>
                  <a:lnTo>
                    <a:pt x="525" y="68"/>
                  </a:lnTo>
                  <a:lnTo>
                    <a:pt x="523" y="59"/>
                  </a:lnTo>
                  <a:lnTo>
                    <a:pt x="519" y="51"/>
                  </a:lnTo>
                  <a:lnTo>
                    <a:pt x="514" y="44"/>
                  </a:lnTo>
                  <a:lnTo>
                    <a:pt x="509" y="37"/>
                  </a:lnTo>
                  <a:lnTo>
                    <a:pt x="501" y="31"/>
                  </a:lnTo>
                  <a:lnTo>
                    <a:pt x="493" y="26"/>
                  </a:lnTo>
                  <a:lnTo>
                    <a:pt x="484" y="21"/>
                  </a:lnTo>
                  <a:lnTo>
                    <a:pt x="475" y="16"/>
                  </a:lnTo>
                  <a:lnTo>
                    <a:pt x="465" y="12"/>
                  </a:lnTo>
                  <a:lnTo>
                    <a:pt x="453" y="9"/>
                  </a:lnTo>
                  <a:lnTo>
                    <a:pt x="442" y="7"/>
                  </a:lnTo>
                  <a:lnTo>
                    <a:pt x="430" y="4"/>
                  </a:lnTo>
                  <a:lnTo>
                    <a:pt x="407" y="0"/>
                  </a:lnTo>
                  <a:lnTo>
                    <a:pt x="383" y="0"/>
                  </a:lnTo>
                  <a:lnTo>
                    <a:pt x="365" y="0"/>
                  </a:lnTo>
                  <a:lnTo>
                    <a:pt x="347" y="1"/>
                  </a:lnTo>
                  <a:lnTo>
                    <a:pt x="329" y="5"/>
                  </a:lnTo>
                  <a:lnTo>
                    <a:pt x="311" y="9"/>
                  </a:lnTo>
                  <a:lnTo>
                    <a:pt x="295" y="16"/>
                  </a:lnTo>
                  <a:lnTo>
                    <a:pt x="281" y="23"/>
                  </a:lnTo>
                  <a:lnTo>
                    <a:pt x="276" y="27"/>
                  </a:lnTo>
                  <a:lnTo>
                    <a:pt x="271" y="32"/>
                  </a:lnTo>
                  <a:lnTo>
                    <a:pt x="266" y="37"/>
                  </a:lnTo>
                  <a:lnTo>
                    <a:pt x="263" y="44"/>
                  </a:lnTo>
                  <a:lnTo>
                    <a:pt x="251" y="46"/>
                  </a:lnTo>
                  <a:lnTo>
                    <a:pt x="239" y="50"/>
                  </a:lnTo>
                  <a:lnTo>
                    <a:pt x="234" y="53"/>
                  </a:lnTo>
                  <a:lnTo>
                    <a:pt x="230" y="57"/>
                  </a:lnTo>
                  <a:lnTo>
                    <a:pt x="225" y="60"/>
                  </a:lnTo>
                  <a:lnTo>
                    <a:pt x="222" y="66"/>
                  </a:lnTo>
                  <a:lnTo>
                    <a:pt x="217" y="72"/>
                  </a:lnTo>
                  <a:lnTo>
                    <a:pt x="215" y="78"/>
                  </a:lnTo>
                  <a:lnTo>
                    <a:pt x="212" y="87"/>
                  </a:lnTo>
                  <a:lnTo>
                    <a:pt x="211" y="95"/>
                  </a:lnTo>
                  <a:lnTo>
                    <a:pt x="209" y="112"/>
                  </a:lnTo>
                  <a:lnTo>
                    <a:pt x="211" y="130"/>
                  </a:lnTo>
                  <a:lnTo>
                    <a:pt x="213" y="148"/>
                  </a:lnTo>
                  <a:lnTo>
                    <a:pt x="217" y="164"/>
                  </a:lnTo>
                  <a:lnTo>
                    <a:pt x="221" y="181"/>
                  </a:lnTo>
                  <a:lnTo>
                    <a:pt x="225" y="194"/>
                  </a:lnTo>
                  <a:lnTo>
                    <a:pt x="226" y="198"/>
                  </a:lnTo>
                  <a:lnTo>
                    <a:pt x="227" y="202"/>
                  </a:lnTo>
                  <a:lnTo>
                    <a:pt x="222" y="207"/>
                  </a:lnTo>
                  <a:lnTo>
                    <a:pt x="217" y="215"/>
                  </a:lnTo>
                  <a:lnTo>
                    <a:pt x="215" y="221"/>
                  </a:lnTo>
                  <a:lnTo>
                    <a:pt x="212" y="230"/>
                  </a:lnTo>
                  <a:lnTo>
                    <a:pt x="211" y="238"/>
                  </a:lnTo>
                  <a:lnTo>
                    <a:pt x="211" y="247"/>
                  </a:lnTo>
                  <a:lnTo>
                    <a:pt x="212" y="254"/>
                  </a:lnTo>
                  <a:lnTo>
                    <a:pt x="213" y="263"/>
                  </a:lnTo>
                  <a:lnTo>
                    <a:pt x="216" y="272"/>
                  </a:lnTo>
                  <a:lnTo>
                    <a:pt x="220" y="280"/>
                  </a:lnTo>
                  <a:lnTo>
                    <a:pt x="224" y="285"/>
                  </a:lnTo>
                  <a:lnTo>
                    <a:pt x="229" y="290"/>
                  </a:lnTo>
                  <a:lnTo>
                    <a:pt x="230" y="307"/>
                  </a:lnTo>
                  <a:lnTo>
                    <a:pt x="234" y="322"/>
                  </a:lnTo>
                  <a:lnTo>
                    <a:pt x="238" y="337"/>
                  </a:lnTo>
                  <a:lnTo>
                    <a:pt x="243" y="348"/>
                  </a:lnTo>
                  <a:lnTo>
                    <a:pt x="249" y="358"/>
                  </a:lnTo>
                  <a:lnTo>
                    <a:pt x="254" y="366"/>
                  </a:lnTo>
                  <a:lnTo>
                    <a:pt x="260" y="373"/>
                  </a:lnTo>
                  <a:lnTo>
                    <a:pt x="265" y="378"/>
                  </a:lnTo>
                  <a:lnTo>
                    <a:pt x="265" y="433"/>
                  </a:lnTo>
                  <a:lnTo>
                    <a:pt x="262" y="433"/>
                  </a:lnTo>
                  <a:lnTo>
                    <a:pt x="261" y="434"/>
                  </a:lnTo>
                  <a:lnTo>
                    <a:pt x="249" y="441"/>
                  </a:lnTo>
                  <a:lnTo>
                    <a:pt x="239" y="448"/>
                  </a:lnTo>
                  <a:lnTo>
                    <a:pt x="229" y="457"/>
                  </a:lnTo>
                  <a:lnTo>
                    <a:pt x="220" y="469"/>
                  </a:lnTo>
                  <a:lnTo>
                    <a:pt x="209" y="473"/>
                  </a:lnTo>
                  <a:lnTo>
                    <a:pt x="200" y="477"/>
                  </a:lnTo>
                  <a:lnTo>
                    <a:pt x="190" y="480"/>
                  </a:lnTo>
                  <a:lnTo>
                    <a:pt x="181" y="484"/>
                  </a:lnTo>
                  <a:lnTo>
                    <a:pt x="134" y="502"/>
                  </a:lnTo>
                  <a:lnTo>
                    <a:pt x="91" y="522"/>
                  </a:lnTo>
                  <a:lnTo>
                    <a:pt x="73" y="531"/>
                  </a:lnTo>
                  <a:lnTo>
                    <a:pt x="57" y="541"/>
                  </a:lnTo>
                  <a:lnTo>
                    <a:pt x="50" y="547"/>
                  </a:lnTo>
                  <a:lnTo>
                    <a:pt x="44" y="552"/>
                  </a:lnTo>
                  <a:lnTo>
                    <a:pt x="39" y="557"/>
                  </a:lnTo>
                  <a:lnTo>
                    <a:pt x="34" y="564"/>
                  </a:lnTo>
                  <a:lnTo>
                    <a:pt x="28" y="573"/>
                  </a:lnTo>
                  <a:lnTo>
                    <a:pt x="23" y="583"/>
                  </a:lnTo>
                  <a:lnTo>
                    <a:pt x="19" y="595"/>
                  </a:lnTo>
                  <a:lnTo>
                    <a:pt x="16" y="606"/>
                  </a:lnTo>
                  <a:lnTo>
                    <a:pt x="9" y="629"/>
                  </a:lnTo>
                  <a:lnTo>
                    <a:pt x="5" y="653"/>
                  </a:lnTo>
                  <a:lnTo>
                    <a:pt x="1" y="691"/>
                  </a:lnTo>
                  <a:lnTo>
                    <a:pt x="0" y="709"/>
                  </a:lnTo>
                  <a:lnTo>
                    <a:pt x="0" y="713"/>
                  </a:lnTo>
                  <a:lnTo>
                    <a:pt x="4" y="717"/>
                  </a:lnTo>
                  <a:lnTo>
                    <a:pt x="8" y="719"/>
                  </a:lnTo>
                  <a:lnTo>
                    <a:pt x="12" y="721"/>
                  </a:lnTo>
                  <a:lnTo>
                    <a:pt x="709" y="721"/>
                  </a:lnTo>
                  <a:lnTo>
                    <a:pt x="714" y="719"/>
                  </a:lnTo>
                  <a:lnTo>
                    <a:pt x="718" y="717"/>
                  </a:lnTo>
                  <a:lnTo>
                    <a:pt x="721" y="713"/>
                  </a:lnTo>
                  <a:lnTo>
                    <a:pt x="721" y="709"/>
                  </a:lnTo>
                  <a:lnTo>
                    <a:pt x="721" y="691"/>
                  </a:lnTo>
                  <a:lnTo>
                    <a:pt x="718" y="653"/>
                  </a:lnTo>
                  <a:lnTo>
                    <a:pt x="714" y="629"/>
                  </a:lnTo>
                  <a:lnTo>
                    <a:pt x="709" y="606"/>
                  </a:lnTo>
                  <a:lnTo>
                    <a:pt x="705" y="595"/>
                  </a:lnTo>
                  <a:lnTo>
                    <a:pt x="701" y="583"/>
                  </a:lnTo>
                  <a:lnTo>
                    <a:pt x="696" y="573"/>
                  </a:lnTo>
                  <a:lnTo>
                    <a:pt x="691" y="5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2" name="Group 101"/>
          <p:cNvGrpSpPr/>
          <p:nvPr/>
        </p:nvGrpSpPr>
        <p:grpSpPr>
          <a:xfrm>
            <a:off x="6685574" y="3080268"/>
            <a:ext cx="770544" cy="770544"/>
            <a:chOff x="6734801" y="2766689"/>
            <a:chExt cx="770544" cy="770544"/>
          </a:xfrm>
        </p:grpSpPr>
        <p:sp>
          <p:nvSpPr>
            <p:cNvPr id="92" name="Snip Single Corner Rectangle 91"/>
            <p:cNvSpPr/>
            <p:nvPr/>
          </p:nvSpPr>
          <p:spPr>
            <a:xfrm>
              <a:off x="6734801" y="2766689"/>
              <a:ext cx="770544" cy="770544"/>
            </a:xfrm>
            <a:prstGeom prst="snip1Rect">
              <a:avLst>
                <a:gd name="adj" fmla="val 26725"/>
              </a:avLst>
            </a:prstGeom>
            <a:gradFill flip="none" rotWithShape="1">
              <a:gsLst>
                <a:gs pos="100000">
                  <a:srgbClr val="F6443B"/>
                </a:gs>
                <a:gs pos="0">
                  <a:srgbClr val="F9857F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4344"/>
            <p:cNvSpPr>
              <a:spLocks/>
            </p:cNvSpPr>
            <p:nvPr/>
          </p:nvSpPr>
          <p:spPr bwMode="auto">
            <a:xfrm>
              <a:off x="6933609" y="2965497"/>
              <a:ext cx="372928" cy="372928"/>
            </a:xfrm>
            <a:custGeom>
              <a:avLst/>
              <a:gdLst>
                <a:gd name="T0" fmla="*/ 853 w 886"/>
                <a:gd name="T1" fmla="*/ 137 h 886"/>
                <a:gd name="T2" fmla="*/ 842 w 886"/>
                <a:gd name="T3" fmla="*/ 134 h 886"/>
                <a:gd name="T4" fmla="*/ 833 w 886"/>
                <a:gd name="T5" fmla="*/ 138 h 886"/>
                <a:gd name="T6" fmla="*/ 646 w 886"/>
                <a:gd name="T7" fmla="*/ 172 h 886"/>
                <a:gd name="T8" fmla="*/ 754 w 886"/>
                <a:gd name="T9" fmla="*/ 46 h 886"/>
                <a:gd name="T10" fmla="*/ 754 w 886"/>
                <a:gd name="T11" fmla="*/ 37 h 886"/>
                <a:gd name="T12" fmla="*/ 747 w 886"/>
                <a:gd name="T13" fmla="*/ 29 h 886"/>
                <a:gd name="T14" fmla="*/ 704 w 886"/>
                <a:gd name="T15" fmla="*/ 12 h 886"/>
                <a:gd name="T16" fmla="*/ 659 w 886"/>
                <a:gd name="T17" fmla="*/ 2 h 886"/>
                <a:gd name="T18" fmla="*/ 615 w 886"/>
                <a:gd name="T19" fmla="*/ 0 h 886"/>
                <a:gd name="T20" fmla="*/ 577 w 886"/>
                <a:gd name="T21" fmla="*/ 6 h 886"/>
                <a:gd name="T22" fmla="*/ 539 w 886"/>
                <a:gd name="T23" fmla="*/ 15 h 886"/>
                <a:gd name="T24" fmla="*/ 505 w 886"/>
                <a:gd name="T25" fmla="*/ 31 h 886"/>
                <a:gd name="T26" fmla="*/ 473 w 886"/>
                <a:gd name="T27" fmla="*/ 52 h 886"/>
                <a:gd name="T28" fmla="*/ 443 w 886"/>
                <a:gd name="T29" fmla="*/ 76 h 886"/>
                <a:gd name="T30" fmla="*/ 405 w 886"/>
                <a:gd name="T31" fmla="*/ 124 h 886"/>
                <a:gd name="T32" fmla="*/ 380 w 886"/>
                <a:gd name="T33" fmla="*/ 178 h 886"/>
                <a:gd name="T34" fmla="*/ 368 w 886"/>
                <a:gd name="T35" fmla="*/ 235 h 886"/>
                <a:gd name="T36" fmla="*/ 368 w 886"/>
                <a:gd name="T37" fmla="*/ 293 h 886"/>
                <a:gd name="T38" fmla="*/ 382 w 886"/>
                <a:gd name="T39" fmla="*/ 351 h 886"/>
                <a:gd name="T40" fmla="*/ 21 w 886"/>
                <a:gd name="T41" fmla="*/ 738 h 886"/>
                <a:gd name="T42" fmla="*/ 7 w 886"/>
                <a:gd name="T43" fmla="*/ 762 h 886"/>
                <a:gd name="T44" fmla="*/ 1 w 886"/>
                <a:gd name="T45" fmla="*/ 787 h 886"/>
                <a:gd name="T46" fmla="*/ 2 w 886"/>
                <a:gd name="T47" fmla="*/ 813 h 886"/>
                <a:gd name="T48" fmla="*/ 11 w 886"/>
                <a:gd name="T49" fmla="*/ 838 h 886"/>
                <a:gd name="T50" fmla="*/ 27 w 886"/>
                <a:gd name="T51" fmla="*/ 860 h 886"/>
                <a:gd name="T52" fmla="*/ 48 w 886"/>
                <a:gd name="T53" fmla="*/ 875 h 886"/>
                <a:gd name="T54" fmla="*/ 73 w 886"/>
                <a:gd name="T55" fmla="*/ 884 h 886"/>
                <a:gd name="T56" fmla="*/ 99 w 886"/>
                <a:gd name="T57" fmla="*/ 885 h 886"/>
                <a:gd name="T58" fmla="*/ 125 w 886"/>
                <a:gd name="T59" fmla="*/ 879 h 886"/>
                <a:gd name="T60" fmla="*/ 148 w 886"/>
                <a:gd name="T61" fmla="*/ 866 h 886"/>
                <a:gd name="T62" fmla="*/ 530 w 886"/>
                <a:gd name="T63" fmla="*/ 502 h 886"/>
                <a:gd name="T64" fmla="*/ 570 w 886"/>
                <a:gd name="T65" fmla="*/ 515 h 886"/>
                <a:gd name="T66" fmla="*/ 612 w 886"/>
                <a:gd name="T67" fmla="*/ 520 h 886"/>
                <a:gd name="T68" fmla="*/ 626 w 886"/>
                <a:gd name="T69" fmla="*/ 520 h 886"/>
                <a:gd name="T70" fmla="*/ 664 w 886"/>
                <a:gd name="T71" fmla="*/ 518 h 886"/>
                <a:gd name="T72" fmla="*/ 702 w 886"/>
                <a:gd name="T73" fmla="*/ 509 h 886"/>
                <a:gd name="T74" fmla="*/ 737 w 886"/>
                <a:gd name="T75" fmla="*/ 496 h 886"/>
                <a:gd name="T76" fmla="*/ 769 w 886"/>
                <a:gd name="T77" fmla="*/ 477 h 886"/>
                <a:gd name="T78" fmla="*/ 800 w 886"/>
                <a:gd name="T79" fmla="*/ 454 h 886"/>
                <a:gd name="T80" fmla="*/ 837 w 886"/>
                <a:gd name="T81" fmla="*/ 413 h 886"/>
                <a:gd name="T82" fmla="*/ 867 w 886"/>
                <a:gd name="T83" fmla="*/ 360 h 886"/>
                <a:gd name="T84" fmla="*/ 883 w 886"/>
                <a:gd name="T85" fmla="*/ 301 h 886"/>
                <a:gd name="T86" fmla="*/ 885 w 886"/>
                <a:gd name="T87" fmla="*/ 241 h 886"/>
                <a:gd name="T88" fmla="*/ 873 w 886"/>
                <a:gd name="T89" fmla="*/ 181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86" h="886">
                  <a:moveTo>
                    <a:pt x="857" y="143"/>
                  </a:moveTo>
                  <a:lnTo>
                    <a:pt x="855" y="139"/>
                  </a:lnTo>
                  <a:lnTo>
                    <a:pt x="853" y="137"/>
                  </a:lnTo>
                  <a:lnTo>
                    <a:pt x="849" y="135"/>
                  </a:lnTo>
                  <a:lnTo>
                    <a:pt x="846" y="133"/>
                  </a:lnTo>
                  <a:lnTo>
                    <a:pt x="842" y="134"/>
                  </a:lnTo>
                  <a:lnTo>
                    <a:pt x="839" y="135"/>
                  </a:lnTo>
                  <a:lnTo>
                    <a:pt x="836" y="136"/>
                  </a:lnTo>
                  <a:lnTo>
                    <a:pt x="833" y="138"/>
                  </a:lnTo>
                  <a:lnTo>
                    <a:pt x="712" y="259"/>
                  </a:lnTo>
                  <a:lnTo>
                    <a:pt x="646" y="259"/>
                  </a:lnTo>
                  <a:lnTo>
                    <a:pt x="646" y="172"/>
                  </a:lnTo>
                  <a:lnTo>
                    <a:pt x="751" y="53"/>
                  </a:lnTo>
                  <a:lnTo>
                    <a:pt x="753" y="49"/>
                  </a:lnTo>
                  <a:lnTo>
                    <a:pt x="754" y="46"/>
                  </a:lnTo>
                  <a:lnTo>
                    <a:pt x="755" y="43"/>
                  </a:lnTo>
                  <a:lnTo>
                    <a:pt x="755" y="39"/>
                  </a:lnTo>
                  <a:lnTo>
                    <a:pt x="754" y="37"/>
                  </a:lnTo>
                  <a:lnTo>
                    <a:pt x="752" y="33"/>
                  </a:lnTo>
                  <a:lnTo>
                    <a:pt x="750" y="31"/>
                  </a:lnTo>
                  <a:lnTo>
                    <a:pt x="747" y="29"/>
                  </a:lnTo>
                  <a:lnTo>
                    <a:pt x="733" y="23"/>
                  </a:lnTo>
                  <a:lnTo>
                    <a:pt x="719" y="16"/>
                  </a:lnTo>
                  <a:lnTo>
                    <a:pt x="704" y="12"/>
                  </a:lnTo>
                  <a:lnTo>
                    <a:pt x="689" y="8"/>
                  </a:lnTo>
                  <a:lnTo>
                    <a:pt x="674" y="5"/>
                  </a:lnTo>
                  <a:lnTo>
                    <a:pt x="659" y="2"/>
                  </a:lnTo>
                  <a:lnTo>
                    <a:pt x="643" y="1"/>
                  </a:lnTo>
                  <a:lnTo>
                    <a:pt x="628" y="0"/>
                  </a:lnTo>
                  <a:lnTo>
                    <a:pt x="615" y="0"/>
                  </a:lnTo>
                  <a:lnTo>
                    <a:pt x="602" y="1"/>
                  </a:lnTo>
                  <a:lnTo>
                    <a:pt x="589" y="3"/>
                  </a:lnTo>
                  <a:lnTo>
                    <a:pt x="577" y="6"/>
                  </a:lnTo>
                  <a:lnTo>
                    <a:pt x="564" y="8"/>
                  </a:lnTo>
                  <a:lnTo>
                    <a:pt x="552" y="11"/>
                  </a:lnTo>
                  <a:lnTo>
                    <a:pt x="539" y="15"/>
                  </a:lnTo>
                  <a:lnTo>
                    <a:pt x="527" y="19"/>
                  </a:lnTo>
                  <a:lnTo>
                    <a:pt x="516" y="25"/>
                  </a:lnTo>
                  <a:lnTo>
                    <a:pt x="505" y="31"/>
                  </a:lnTo>
                  <a:lnTo>
                    <a:pt x="493" y="37"/>
                  </a:lnTo>
                  <a:lnTo>
                    <a:pt x="482" y="44"/>
                  </a:lnTo>
                  <a:lnTo>
                    <a:pt x="473" y="52"/>
                  </a:lnTo>
                  <a:lnTo>
                    <a:pt x="462" y="59"/>
                  </a:lnTo>
                  <a:lnTo>
                    <a:pt x="452" y="68"/>
                  </a:lnTo>
                  <a:lnTo>
                    <a:pt x="443" y="76"/>
                  </a:lnTo>
                  <a:lnTo>
                    <a:pt x="429" y="91"/>
                  </a:lnTo>
                  <a:lnTo>
                    <a:pt x="416" y="107"/>
                  </a:lnTo>
                  <a:lnTo>
                    <a:pt x="405" y="124"/>
                  </a:lnTo>
                  <a:lnTo>
                    <a:pt x="396" y="141"/>
                  </a:lnTo>
                  <a:lnTo>
                    <a:pt x="387" y="160"/>
                  </a:lnTo>
                  <a:lnTo>
                    <a:pt x="380" y="178"/>
                  </a:lnTo>
                  <a:lnTo>
                    <a:pt x="374" y="196"/>
                  </a:lnTo>
                  <a:lnTo>
                    <a:pt x="370" y="215"/>
                  </a:lnTo>
                  <a:lnTo>
                    <a:pt x="368" y="235"/>
                  </a:lnTo>
                  <a:lnTo>
                    <a:pt x="366" y="254"/>
                  </a:lnTo>
                  <a:lnTo>
                    <a:pt x="367" y="274"/>
                  </a:lnTo>
                  <a:lnTo>
                    <a:pt x="368" y="293"/>
                  </a:lnTo>
                  <a:lnTo>
                    <a:pt x="371" y="313"/>
                  </a:lnTo>
                  <a:lnTo>
                    <a:pt x="376" y="332"/>
                  </a:lnTo>
                  <a:lnTo>
                    <a:pt x="382" y="351"/>
                  </a:lnTo>
                  <a:lnTo>
                    <a:pt x="390" y="369"/>
                  </a:lnTo>
                  <a:lnTo>
                    <a:pt x="27" y="732"/>
                  </a:lnTo>
                  <a:lnTo>
                    <a:pt x="21" y="738"/>
                  </a:lnTo>
                  <a:lnTo>
                    <a:pt x="16" y="746"/>
                  </a:lnTo>
                  <a:lnTo>
                    <a:pt x="11" y="753"/>
                  </a:lnTo>
                  <a:lnTo>
                    <a:pt x="7" y="762"/>
                  </a:lnTo>
                  <a:lnTo>
                    <a:pt x="4" y="769"/>
                  </a:lnTo>
                  <a:lnTo>
                    <a:pt x="2" y="778"/>
                  </a:lnTo>
                  <a:lnTo>
                    <a:pt x="1" y="787"/>
                  </a:lnTo>
                  <a:lnTo>
                    <a:pt x="0" y="796"/>
                  </a:lnTo>
                  <a:lnTo>
                    <a:pt x="1" y="805"/>
                  </a:lnTo>
                  <a:lnTo>
                    <a:pt x="2" y="813"/>
                  </a:lnTo>
                  <a:lnTo>
                    <a:pt x="4" y="822"/>
                  </a:lnTo>
                  <a:lnTo>
                    <a:pt x="7" y="830"/>
                  </a:lnTo>
                  <a:lnTo>
                    <a:pt x="11" y="838"/>
                  </a:lnTo>
                  <a:lnTo>
                    <a:pt x="15" y="845"/>
                  </a:lnTo>
                  <a:lnTo>
                    <a:pt x="20" y="853"/>
                  </a:lnTo>
                  <a:lnTo>
                    <a:pt x="27" y="860"/>
                  </a:lnTo>
                  <a:lnTo>
                    <a:pt x="33" y="866"/>
                  </a:lnTo>
                  <a:lnTo>
                    <a:pt x="41" y="871"/>
                  </a:lnTo>
                  <a:lnTo>
                    <a:pt x="48" y="875"/>
                  </a:lnTo>
                  <a:lnTo>
                    <a:pt x="55" y="879"/>
                  </a:lnTo>
                  <a:lnTo>
                    <a:pt x="64" y="882"/>
                  </a:lnTo>
                  <a:lnTo>
                    <a:pt x="73" y="884"/>
                  </a:lnTo>
                  <a:lnTo>
                    <a:pt x="81" y="885"/>
                  </a:lnTo>
                  <a:lnTo>
                    <a:pt x="91" y="886"/>
                  </a:lnTo>
                  <a:lnTo>
                    <a:pt x="99" y="885"/>
                  </a:lnTo>
                  <a:lnTo>
                    <a:pt x="108" y="884"/>
                  </a:lnTo>
                  <a:lnTo>
                    <a:pt x="116" y="882"/>
                  </a:lnTo>
                  <a:lnTo>
                    <a:pt x="125" y="879"/>
                  </a:lnTo>
                  <a:lnTo>
                    <a:pt x="133" y="875"/>
                  </a:lnTo>
                  <a:lnTo>
                    <a:pt x="140" y="871"/>
                  </a:lnTo>
                  <a:lnTo>
                    <a:pt x="148" y="866"/>
                  </a:lnTo>
                  <a:lnTo>
                    <a:pt x="154" y="860"/>
                  </a:lnTo>
                  <a:lnTo>
                    <a:pt x="517" y="497"/>
                  </a:lnTo>
                  <a:lnTo>
                    <a:pt x="530" y="502"/>
                  </a:lnTo>
                  <a:lnTo>
                    <a:pt x="543" y="507"/>
                  </a:lnTo>
                  <a:lnTo>
                    <a:pt x="556" y="512"/>
                  </a:lnTo>
                  <a:lnTo>
                    <a:pt x="570" y="515"/>
                  </a:lnTo>
                  <a:lnTo>
                    <a:pt x="584" y="517"/>
                  </a:lnTo>
                  <a:lnTo>
                    <a:pt x="598" y="519"/>
                  </a:lnTo>
                  <a:lnTo>
                    <a:pt x="612" y="520"/>
                  </a:lnTo>
                  <a:lnTo>
                    <a:pt x="626" y="520"/>
                  </a:lnTo>
                  <a:lnTo>
                    <a:pt x="626" y="520"/>
                  </a:lnTo>
                  <a:lnTo>
                    <a:pt x="626" y="520"/>
                  </a:lnTo>
                  <a:lnTo>
                    <a:pt x="639" y="520"/>
                  </a:lnTo>
                  <a:lnTo>
                    <a:pt x="651" y="519"/>
                  </a:lnTo>
                  <a:lnTo>
                    <a:pt x="664" y="518"/>
                  </a:lnTo>
                  <a:lnTo>
                    <a:pt x="677" y="516"/>
                  </a:lnTo>
                  <a:lnTo>
                    <a:pt x="689" y="513"/>
                  </a:lnTo>
                  <a:lnTo>
                    <a:pt x="702" y="509"/>
                  </a:lnTo>
                  <a:lnTo>
                    <a:pt x="714" y="505"/>
                  </a:lnTo>
                  <a:lnTo>
                    <a:pt x="725" y="501"/>
                  </a:lnTo>
                  <a:lnTo>
                    <a:pt x="737" y="496"/>
                  </a:lnTo>
                  <a:lnTo>
                    <a:pt x="748" y="490"/>
                  </a:lnTo>
                  <a:lnTo>
                    <a:pt x="758" y="484"/>
                  </a:lnTo>
                  <a:lnTo>
                    <a:pt x="769" y="477"/>
                  </a:lnTo>
                  <a:lnTo>
                    <a:pt x="780" y="470"/>
                  </a:lnTo>
                  <a:lnTo>
                    <a:pt x="791" y="462"/>
                  </a:lnTo>
                  <a:lnTo>
                    <a:pt x="800" y="454"/>
                  </a:lnTo>
                  <a:lnTo>
                    <a:pt x="810" y="444"/>
                  </a:lnTo>
                  <a:lnTo>
                    <a:pt x="824" y="429"/>
                  </a:lnTo>
                  <a:lnTo>
                    <a:pt x="837" y="413"/>
                  </a:lnTo>
                  <a:lnTo>
                    <a:pt x="848" y="396"/>
                  </a:lnTo>
                  <a:lnTo>
                    <a:pt x="858" y="378"/>
                  </a:lnTo>
                  <a:lnTo>
                    <a:pt x="867" y="360"/>
                  </a:lnTo>
                  <a:lnTo>
                    <a:pt x="873" y="340"/>
                  </a:lnTo>
                  <a:lnTo>
                    <a:pt x="878" y="321"/>
                  </a:lnTo>
                  <a:lnTo>
                    <a:pt x="883" y="301"/>
                  </a:lnTo>
                  <a:lnTo>
                    <a:pt x="885" y="282"/>
                  </a:lnTo>
                  <a:lnTo>
                    <a:pt x="886" y="261"/>
                  </a:lnTo>
                  <a:lnTo>
                    <a:pt x="885" y="241"/>
                  </a:lnTo>
                  <a:lnTo>
                    <a:pt x="883" y="221"/>
                  </a:lnTo>
                  <a:lnTo>
                    <a:pt x="878" y="200"/>
                  </a:lnTo>
                  <a:lnTo>
                    <a:pt x="873" y="181"/>
                  </a:lnTo>
                  <a:lnTo>
                    <a:pt x="865" y="162"/>
                  </a:lnTo>
                  <a:lnTo>
                    <a:pt x="857" y="14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EA34F"/>
                </a:solidFill>
              </a:endParaRPr>
            </a:p>
          </p:txBody>
        </p:sp>
      </p:grpSp>
      <p:grpSp>
        <p:nvGrpSpPr>
          <p:cNvPr id="99" name="Group 98"/>
          <p:cNvGrpSpPr/>
          <p:nvPr/>
        </p:nvGrpSpPr>
        <p:grpSpPr>
          <a:xfrm>
            <a:off x="7981432" y="2069541"/>
            <a:ext cx="770544" cy="770544"/>
            <a:chOff x="7970031" y="1663891"/>
            <a:chExt cx="770544" cy="770544"/>
          </a:xfrm>
        </p:grpSpPr>
        <p:sp>
          <p:nvSpPr>
            <p:cNvPr id="94" name="Snip Single Corner Rectangle 93"/>
            <p:cNvSpPr/>
            <p:nvPr/>
          </p:nvSpPr>
          <p:spPr>
            <a:xfrm>
              <a:off x="7970031" y="1663891"/>
              <a:ext cx="770544" cy="770544"/>
            </a:xfrm>
            <a:prstGeom prst="snip1Rect">
              <a:avLst>
                <a:gd name="adj" fmla="val 26725"/>
              </a:avLst>
            </a:prstGeom>
            <a:gradFill flip="none" rotWithShape="1">
              <a:gsLst>
                <a:gs pos="100000">
                  <a:srgbClr val="69AFC0"/>
                </a:gs>
                <a:gs pos="0">
                  <a:srgbClr val="125680"/>
                </a:gs>
              </a:gsLst>
              <a:lin ang="27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78" name="Group 77"/>
            <p:cNvGrpSpPr/>
            <p:nvPr/>
          </p:nvGrpSpPr>
          <p:grpSpPr>
            <a:xfrm>
              <a:off x="8164625" y="1902732"/>
              <a:ext cx="381356" cy="292864"/>
              <a:chOff x="1450975" y="2559050"/>
              <a:chExt cx="287338" cy="220663"/>
            </a:xfrm>
            <a:solidFill>
              <a:schemeClr val="bg1"/>
            </a:solidFill>
            <a:effectLst/>
          </p:grpSpPr>
          <p:sp>
            <p:nvSpPr>
              <p:cNvPr id="79" name="Freeform 518"/>
              <p:cNvSpPr>
                <a:spLocks/>
              </p:cNvSpPr>
              <p:nvPr/>
            </p:nvSpPr>
            <p:spPr bwMode="auto">
              <a:xfrm>
                <a:off x="1552575" y="2559050"/>
                <a:ext cx="185738" cy="187325"/>
              </a:xfrm>
              <a:custGeom>
                <a:avLst/>
                <a:gdLst>
                  <a:gd name="T0" fmla="*/ 15 w 587"/>
                  <a:gd name="T1" fmla="*/ 0 h 588"/>
                  <a:gd name="T2" fmla="*/ 9 w 587"/>
                  <a:gd name="T3" fmla="*/ 2 h 588"/>
                  <a:gd name="T4" fmla="*/ 4 w 587"/>
                  <a:gd name="T5" fmla="*/ 5 h 588"/>
                  <a:gd name="T6" fmla="*/ 1 w 587"/>
                  <a:gd name="T7" fmla="*/ 10 h 588"/>
                  <a:gd name="T8" fmla="*/ 0 w 587"/>
                  <a:gd name="T9" fmla="*/ 15 h 588"/>
                  <a:gd name="T10" fmla="*/ 14 w 587"/>
                  <a:gd name="T11" fmla="*/ 453 h 588"/>
                  <a:gd name="T12" fmla="*/ 40 w 587"/>
                  <a:gd name="T13" fmla="*/ 458 h 588"/>
                  <a:gd name="T14" fmla="*/ 64 w 587"/>
                  <a:gd name="T15" fmla="*/ 469 h 588"/>
                  <a:gd name="T16" fmla="*/ 85 w 587"/>
                  <a:gd name="T17" fmla="*/ 483 h 588"/>
                  <a:gd name="T18" fmla="*/ 105 w 587"/>
                  <a:gd name="T19" fmla="*/ 501 h 588"/>
                  <a:gd name="T20" fmla="*/ 119 w 587"/>
                  <a:gd name="T21" fmla="*/ 524 h 588"/>
                  <a:gd name="T22" fmla="*/ 129 w 587"/>
                  <a:gd name="T23" fmla="*/ 548 h 588"/>
                  <a:gd name="T24" fmla="*/ 135 w 587"/>
                  <a:gd name="T25" fmla="*/ 574 h 588"/>
                  <a:gd name="T26" fmla="*/ 286 w 587"/>
                  <a:gd name="T27" fmla="*/ 588 h 588"/>
                  <a:gd name="T28" fmla="*/ 288 w 587"/>
                  <a:gd name="T29" fmla="*/ 560 h 588"/>
                  <a:gd name="T30" fmla="*/ 297 w 587"/>
                  <a:gd name="T31" fmla="*/ 536 h 588"/>
                  <a:gd name="T32" fmla="*/ 308 w 587"/>
                  <a:gd name="T33" fmla="*/ 512 h 588"/>
                  <a:gd name="T34" fmla="*/ 326 w 587"/>
                  <a:gd name="T35" fmla="*/ 492 h 588"/>
                  <a:gd name="T36" fmla="*/ 346 w 587"/>
                  <a:gd name="T37" fmla="*/ 476 h 588"/>
                  <a:gd name="T38" fmla="*/ 369 w 587"/>
                  <a:gd name="T39" fmla="*/ 463 h 588"/>
                  <a:gd name="T40" fmla="*/ 394 w 587"/>
                  <a:gd name="T41" fmla="*/ 455 h 588"/>
                  <a:gd name="T42" fmla="*/ 421 w 587"/>
                  <a:gd name="T43" fmla="*/ 452 h 588"/>
                  <a:gd name="T44" fmla="*/ 449 w 587"/>
                  <a:gd name="T45" fmla="*/ 455 h 588"/>
                  <a:gd name="T46" fmla="*/ 474 w 587"/>
                  <a:gd name="T47" fmla="*/ 463 h 588"/>
                  <a:gd name="T48" fmla="*/ 497 w 587"/>
                  <a:gd name="T49" fmla="*/ 476 h 588"/>
                  <a:gd name="T50" fmla="*/ 517 w 587"/>
                  <a:gd name="T51" fmla="*/ 492 h 588"/>
                  <a:gd name="T52" fmla="*/ 534 w 587"/>
                  <a:gd name="T53" fmla="*/ 512 h 588"/>
                  <a:gd name="T54" fmla="*/ 547 w 587"/>
                  <a:gd name="T55" fmla="*/ 536 h 588"/>
                  <a:gd name="T56" fmla="*/ 554 w 587"/>
                  <a:gd name="T57" fmla="*/ 560 h 588"/>
                  <a:gd name="T58" fmla="*/ 556 w 587"/>
                  <a:gd name="T59" fmla="*/ 588 h 588"/>
                  <a:gd name="T60" fmla="*/ 574 w 587"/>
                  <a:gd name="T61" fmla="*/ 587 h 588"/>
                  <a:gd name="T62" fmla="*/ 580 w 587"/>
                  <a:gd name="T63" fmla="*/ 585 h 588"/>
                  <a:gd name="T64" fmla="*/ 584 w 587"/>
                  <a:gd name="T65" fmla="*/ 582 h 588"/>
                  <a:gd name="T66" fmla="*/ 586 w 587"/>
                  <a:gd name="T67" fmla="*/ 576 h 588"/>
                  <a:gd name="T68" fmla="*/ 587 w 587"/>
                  <a:gd name="T69" fmla="*/ 15 h 588"/>
                  <a:gd name="T70" fmla="*/ 585 w 587"/>
                  <a:gd name="T71" fmla="*/ 10 h 588"/>
                  <a:gd name="T72" fmla="*/ 582 w 587"/>
                  <a:gd name="T73" fmla="*/ 5 h 588"/>
                  <a:gd name="T74" fmla="*/ 578 w 587"/>
                  <a:gd name="T75" fmla="*/ 2 h 588"/>
                  <a:gd name="T76" fmla="*/ 572 w 587"/>
                  <a:gd name="T77" fmla="*/ 0 h 5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87" h="588">
                    <a:moveTo>
                      <a:pt x="572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9" y="2"/>
                    </a:lnTo>
                    <a:lnTo>
                      <a:pt x="6" y="4"/>
                    </a:lnTo>
                    <a:lnTo>
                      <a:pt x="4" y="5"/>
                    </a:lnTo>
                    <a:lnTo>
                      <a:pt x="3" y="8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452"/>
                    </a:lnTo>
                    <a:lnTo>
                      <a:pt x="14" y="453"/>
                    </a:lnTo>
                    <a:lnTo>
                      <a:pt x="27" y="455"/>
                    </a:lnTo>
                    <a:lnTo>
                      <a:pt x="40" y="458"/>
                    </a:lnTo>
                    <a:lnTo>
                      <a:pt x="52" y="463"/>
                    </a:lnTo>
                    <a:lnTo>
                      <a:pt x="64" y="469"/>
                    </a:lnTo>
                    <a:lnTo>
                      <a:pt x="76" y="476"/>
                    </a:lnTo>
                    <a:lnTo>
                      <a:pt x="85" y="483"/>
                    </a:lnTo>
                    <a:lnTo>
                      <a:pt x="95" y="492"/>
                    </a:lnTo>
                    <a:lnTo>
                      <a:pt x="105" y="501"/>
                    </a:lnTo>
                    <a:lnTo>
                      <a:pt x="112" y="512"/>
                    </a:lnTo>
                    <a:lnTo>
                      <a:pt x="119" y="524"/>
                    </a:lnTo>
                    <a:lnTo>
                      <a:pt x="125" y="536"/>
                    </a:lnTo>
                    <a:lnTo>
                      <a:pt x="129" y="548"/>
                    </a:lnTo>
                    <a:lnTo>
                      <a:pt x="133" y="560"/>
                    </a:lnTo>
                    <a:lnTo>
                      <a:pt x="135" y="574"/>
                    </a:lnTo>
                    <a:lnTo>
                      <a:pt x="135" y="588"/>
                    </a:lnTo>
                    <a:lnTo>
                      <a:pt x="286" y="588"/>
                    </a:lnTo>
                    <a:lnTo>
                      <a:pt x="286" y="574"/>
                    </a:lnTo>
                    <a:lnTo>
                      <a:pt x="288" y="560"/>
                    </a:lnTo>
                    <a:lnTo>
                      <a:pt x="292" y="548"/>
                    </a:lnTo>
                    <a:lnTo>
                      <a:pt x="297" y="536"/>
                    </a:lnTo>
                    <a:lnTo>
                      <a:pt x="302" y="524"/>
                    </a:lnTo>
                    <a:lnTo>
                      <a:pt x="308" y="512"/>
                    </a:lnTo>
                    <a:lnTo>
                      <a:pt x="317" y="501"/>
                    </a:lnTo>
                    <a:lnTo>
                      <a:pt x="326" y="492"/>
                    </a:lnTo>
                    <a:lnTo>
                      <a:pt x="335" y="483"/>
                    </a:lnTo>
                    <a:lnTo>
                      <a:pt x="346" y="476"/>
                    </a:lnTo>
                    <a:lnTo>
                      <a:pt x="357" y="469"/>
                    </a:lnTo>
                    <a:lnTo>
                      <a:pt x="369" y="463"/>
                    </a:lnTo>
                    <a:lnTo>
                      <a:pt x="381" y="458"/>
                    </a:lnTo>
                    <a:lnTo>
                      <a:pt x="394" y="455"/>
                    </a:lnTo>
                    <a:lnTo>
                      <a:pt x="407" y="453"/>
                    </a:lnTo>
                    <a:lnTo>
                      <a:pt x="421" y="452"/>
                    </a:lnTo>
                    <a:lnTo>
                      <a:pt x="435" y="453"/>
                    </a:lnTo>
                    <a:lnTo>
                      <a:pt x="449" y="455"/>
                    </a:lnTo>
                    <a:lnTo>
                      <a:pt x="462" y="458"/>
                    </a:lnTo>
                    <a:lnTo>
                      <a:pt x="474" y="463"/>
                    </a:lnTo>
                    <a:lnTo>
                      <a:pt x="485" y="469"/>
                    </a:lnTo>
                    <a:lnTo>
                      <a:pt x="497" y="476"/>
                    </a:lnTo>
                    <a:lnTo>
                      <a:pt x="507" y="483"/>
                    </a:lnTo>
                    <a:lnTo>
                      <a:pt x="517" y="492"/>
                    </a:lnTo>
                    <a:lnTo>
                      <a:pt x="526" y="501"/>
                    </a:lnTo>
                    <a:lnTo>
                      <a:pt x="534" y="512"/>
                    </a:lnTo>
                    <a:lnTo>
                      <a:pt x="540" y="524"/>
                    </a:lnTo>
                    <a:lnTo>
                      <a:pt x="547" y="536"/>
                    </a:lnTo>
                    <a:lnTo>
                      <a:pt x="551" y="548"/>
                    </a:lnTo>
                    <a:lnTo>
                      <a:pt x="554" y="560"/>
                    </a:lnTo>
                    <a:lnTo>
                      <a:pt x="556" y="574"/>
                    </a:lnTo>
                    <a:lnTo>
                      <a:pt x="556" y="588"/>
                    </a:lnTo>
                    <a:lnTo>
                      <a:pt x="572" y="588"/>
                    </a:lnTo>
                    <a:lnTo>
                      <a:pt x="574" y="587"/>
                    </a:lnTo>
                    <a:lnTo>
                      <a:pt x="578" y="587"/>
                    </a:lnTo>
                    <a:lnTo>
                      <a:pt x="580" y="585"/>
                    </a:lnTo>
                    <a:lnTo>
                      <a:pt x="582" y="584"/>
                    </a:lnTo>
                    <a:lnTo>
                      <a:pt x="584" y="582"/>
                    </a:lnTo>
                    <a:lnTo>
                      <a:pt x="585" y="579"/>
                    </a:lnTo>
                    <a:lnTo>
                      <a:pt x="586" y="576"/>
                    </a:lnTo>
                    <a:lnTo>
                      <a:pt x="587" y="573"/>
                    </a:lnTo>
                    <a:lnTo>
                      <a:pt x="587" y="15"/>
                    </a:lnTo>
                    <a:lnTo>
                      <a:pt x="586" y="13"/>
                    </a:lnTo>
                    <a:lnTo>
                      <a:pt x="585" y="10"/>
                    </a:lnTo>
                    <a:lnTo>
                      <a:pt x="584" y="8"/>
                    </a:lnTo>
                    <a:lnTo>
                      <a:pt x="582" y="5"/>
                    </a:lnTo>
                    <a:lnTo>
                      <a:pt x="580" y="4"/>
                    </a:lnTo>
                    <a:lnTo>
                      <a:pt x="578" y="2"/>
                    </a:lnTo>
                    <a:lnTo>
                      <a:pt x="574" y="2"/>
                    </a:lnTo>
                    <a:lnTo>
                      <a:pt x="57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519"/>
              <p:cNvSpPr>
                <a:spLocks noEditPoints="1"/>
              </p:cNvSpPr>
              <p:nvPr/>
            </p:nvSpPr>
            <p:spPr bwMode="auto">
              <a:xfrm>
                <a:off x="1450975" y="2606675"/>
                <a:ext cx="92075" cy="115888"/>
              </a:xfrm>
              <a:custGeom>
                <a:avLst/>
                <a:gdLst>
                  <a:gd name="T0" fmla="*/ 145 w 287"/>
                  <a:gd name="T1" fmla="*/ 121 h 362"/>
                  <a:gd name="T2" fmla="*/ 134 w 287"/>
                  <a:gd name="T3" fmla="*/ 125 h 362"/>
                  <a:gd name="T4" fmla="*/ 127 w 287"/>
                  <a:gd name="T5" fmla="*/ 133 h 362"/>
                  <a:gd name="T6" fmla="*/ 121 w 287"/>
                  <a:gd name="T7" fmla="*/ 143 h 362"/>
                  <a:gd name="T8" fmla="*/ 121 w 287"/>
                  <a:gd name="T9" fmla="*/ 225 h 362"/>
                  <a:gd name="T10" fmla="*/ 120 w 287"/>
                  <a:gd name="T11" fmla="*/ 231 h 362"/>
                  <a:gd name="T12" fmla="*/ 117 w 287"/>
                  <a:gd name="T13" fmla="*/ 236 h 362"/>
                  <a:gd name="T14" fmla="*/ 112 w 287"/>
                  <a:gd name="T15" fmla="*/ 239 h 362"/>
                  <a:gd name="T16" fmla="*/ 106 w 287"/>
                  <a:gd name="T17" fmla="*/ 240 h 362"/>
                  <a:gd name="T18" fmla="*/ 100 w 287"/>
                  <a:gd name="T19" fmla="*/ 239 h 362"/>
                  <a:gd name="T20" fmla="*/ 96 w 287"/>
                  <a:gd name="T21" fmla="*/ 236 h 362"/>
                  <a:gd name="T22" fmla="*/ 92 w 287"/>
                  <a:gd name="T23" fmla="*/ 231 h 362"/>
                  <a:gd name="T24" fmla="*/ 91 w 287"/>
                  <a:gd name="T25" fmla="*/ 225 h 362"/>
                  <a:gd name="T26" fmla="*/ 91 w 287"/>
                  <a:gd name="T27" fmla="*/ 143 h 362"/>
                  <a:gd name="T28" fmla="*/ 93 w 287"/>
                  <a:gd name="T29" fmla="*/ 132 h 362"/>
                  <a:gd name="T30" fmla="*/ 98 w 287"/>
                  <a:gd name="T31" fmla="*/ 121 h 362"/>
                  <a:gd name="T32" fmla="*/ 104 w 287"/>
                  <a:gd name="T33" fmla="*/ 111 h 362"/>
                  <a:gd name="T34" fmla="*/ 113 w 287"/>
                  <a:gd name="T35" fmla="*/ 104 h 362"/>
                  <a:gd name="T36" fmla="*/ 122 w 287"/>
                  <a:gd name="T37" fmla="*/ 97 h 362"/>
                  <a:gd name="T38" fmla="*/ 133 w 287"/>
                  <a:gd name="T39" fmla="*/ 92 h 362"/>
                  <a:gd name="T40" fmla="*/ 145 w 287"/>
                  <a:gd name="T41" fmla="*/ 90 h 362"/>
                  <a:gd name="T42" fmla="*/ 226 w 287"/>
                  <a:gd name="T43" fmla="*/ 90 h 362"/>
                  <a:gd name="T44" fmla="*/ 232 w 287"/>
                  <a:gd name="T45" fmla="*/ 91 h 362"/>
                  <a:gd name="T46" fmla="*/ 237 w 287"/>
                  <a:gd name="T47" fmla="*/ 94 h 362"/>
                  <a:gd name="T48" fmla="*/ 240 w 287"/>
                  <a:gd name="T49" fmla="*/ 98 h 362"/>
                  <a:gd name="T50" fmla="*/ 241 w 287"/>
                  <a:gd name="T51" fmla="*/ 105 h 362"/>
                  <a:gd name="T52" fmla="*/ 240 w 287"/>
                  <a:gd name="T53" fmla="*/ 110 h 362"/>
                  <a:gd name="T54" fmla="*/ 237 w 287"/>
                  <a:gd name="T55" fmla="*/ 116 h 362"/>
                  <a:gd name="T56" fmla="*/ 232 w 287"/>
                  <a:gd name="T57" fmla="*/ 119 h 362"/>
                  <a:gd name="T58" fmla="*/ 226 w 287"/>
                  <a:gd name="T59" fmla="*/ 120 h 362"/>
                  <a:gd name="T60" fmla="*/ 287 w 287"/>
                  <a:gd name="T61" fmla="*/ 304 h 362"/>
                  <a:gd name="T62" fmla="*/ 287 w 287"/>
                  <a:gd name="T63" fmla="*/ 12 h 362"/>
                  <a:gd name="T64" fmla="*/ 284 w 287"/>
                  <a:gd name="T65" fmla="*/ 6 h 362"/>
                  <a:gd name="T66" fmla="*/ 280 w 287"/>
                  <a:gd name="T67" fmla="*/ 2 h 362"/>
                  <a:gd name="T68" fmla="*/ 275 w 287"/>
                  <a:gd name="T69" fmla="*/ 0 h 362"/>
                  <a:gd name="T70" fmla="*/ 136 w 287"/>
                  <a:gd name="T71" fmla="*/ 0 h 362"/>
                  <a:gd name="T72" fmla="*/ 109 w 287"/>
                  <a:gd name="T73" fmla="*/ 2 h 362"/>
                  <a:gd name="T74" fmla="*/ 84 w 287"/>
                  <a:gd name="T75" fmla="*/ 10 h 362"/>
                  <a:gd name="T76" fmla="*/ 60 w 287"/>
                  <a:gd name="T77" fmla="*/ 22 h 362"/>
                  <a:gd name="T78" fmla="*/ 40 w 287"/>
                  <a:gd name="T79" fmla="*/ 39 h 362"/>
                  <a:gd name="T80" fmla="*/ 24 w 287"/>
                  <a:gd name="T81" fmla="*/ 59 h 362"/>
                  <a:gd name="T82" fmla="*/ 11 w 287"/>
                  <a:gd name="T83" fmla="*/ 82 h 362"/>
                  <a:gd name="T84" fmla="*/ 3 w 287"/>
                  <a:gd name="T85" fmla="*/ 108 h 362"/>
                  <a:gd name="T86" fmla="*/ 0 w 287"/>
                  <a:gd name="T87" fmla="*/ 135 h 362"/>
                  <a:gd name="T88" fmla="*/ 196 w 287"/>
                  <a:gd name="T89" fmla="*/ 361 h 362"/>
                  <a:gd name="T90" fmla="*/ 203 w 287"/>
                  <a:gd name="T91" fmla="*/ 362 h 362"/>
                  <a:gd name="T92" fmla="*/ 219 w 287"/>
                  <a:gd name="T93" fmla="*/ 342 h 362"/>
                  <a:gd name="T94" fmla="*/ 239 w 287"/>
                  <a:gd name="T95" fmla="*/ 326 h 362"/>
                  <a:gd name="T96" fmla="*/ 262 w 287"/>
                  <a:gd name="T97" fmla="*/ 312 h 362"/>
                  <a:gd name="T98" fmla="*/ 287 w 287"/>
                  <a:gd name="T99" fmla="*/ 304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87" h="362">
                    <a:moveTo>
                      <a:pt x="151" y="120"/>
                    </a:moveTo>
                    <a:lnTo>
                      <a:pt x="145" y="121"/>
                    </a:lnTo>
                    <a:lnTo>
                      <a:pt x="140" y="122"/>
                    </a:lnTo>
                    <a:lnTo>
                      <a:pt x="134" y="125"/>
                    </a:lnTo>
                    <a:lnTo>
                      <a:pt x="130" y="128"/>
                    </a:lnTo>
                    <a:lnTo>
                      <a:pt x="127" y="133"/>
                    </a:lnTo>
                    <a:lnTo>
                      <a:pt x="124" y="138"/>
                    </a:lnTo>
                    <a:lnTo>
                      <a:pt x="121" y="143"/>
                    </a:lnTo>
                    <a:lnTo>
                      <a:pt x="121" y="150"/>
                    </a:lnTo>
                    <a:lnTo>
                      <a:pt x="121" y="225"/>
                    </a:lnTo>
                    <a:lnTo>
                      <a:pt x="120" y="228"/>
                    </a:lnTo>
                    <a:lnTo>
                      <a:pt x="120" y="231"/>
                    </a:lnTo>
                    <a:lnTo>
                      <a:pt x="118" y="234"/>
                    </a:lnTo>
                    <a:lnTo>
                      <a:pt x="117" y="236"/>
                    </a:lnTo>
                    <a:lnTo>
                      <a:pt x="115" y="238"/>
                    </a:lnTo>
                    <a:lnTo>
                      <a:pt x="112" y="239"/>
                    </a:lnTo>
                    <a:lnTo>
                      <a:pt x="110" y="240"/>
                    </a:lnTo>
                    <a:lnTo>
                      <a:pt x="106" y="240"/>
                    </a:lnTo>
                    <a:lnTo>
                      <a:pt x="103" y="240"/>
                    </a:lnTo>
                    <a:lnTo>
                      <a:pt x="100" y="239"/>
                    </a:lnTo>
                    <a:lnTo>
                      <a:pt x="98" y="238"/>
                    </a:lnTo>
                    <a:lnTo>
                      <a:pt x="96" y="236"/>
                    </a:lnTo>
                    <a:lnTo>
                      <a:pt x="93" y="234"/>
                    </a:lnTo>
                    <a:lnTo>
                      <a:pt x="92" y="231"/>
                    </a:lnTo>
                    <a:lnTo>
                      <a:pt x="91" y="228"/>
                    </a:lnTo>
                    <a:lnTo>
                      <a:pt x="91" y="225"/>
                    </a:lnTo>
                    <a:lnTo>
                      <a:pt x="91" y="150"/>
                    </a:lnTo>
                    <a:lnTo>
                      <a:pt x="91" y="143"/>
                    </a:lnTo>
                    <a:lnTo>
                      <a:pt x="92" y="138"/>
                    </a:lnTo>
                    <a:lnTo>
                      <a:pt x="93" y="132"/>
                    </a:lnTo>
                    <a:lnTo>
                      <a:pt x="96" y="126"/>
                    </a:lnTo>
                    <a:lnTo>
                      <a:pt x="98" y="121"/>
                    </a:lnTo>
                    <a:lnTo>
                      <a:pt x="101" y="117"/>
                    </a:lnTo>
                    <a:lnTo>
                      <a:pt x="104" y="111"/>
                    </a:lnTo>
                    <a:lnTo>
                      <a:pt x="109" y="107"/>
                    </a:lnTo>
                    <a:lnTo>
                      <a:pt x="113" y="104"/>
                    </a:lnTo>
                    <a:lnTo>
                      <a:pt x="117" y="99"/>
                    </a:lnTo>
                    <a:lnTo>
                      <a:pt x="122" y="97"/>
                    </a:lnTo>
                    <a:lnTo>
                      <a:pt x="128" y="94"/>
                    </a:lnTo>
                    <a:lnTo>
                      <a:pt x="133" y="92"/>
                    </a:lnTo>
                    <a:lnTo>
                      <a:pt x="139" y="91"/>
                    </a:lnTo>
                    <a:lnTo>
                      <a:pt x="145" y="90"/>
                    </a:lnTo>
                    <a:lnTo>
                      <a:pt x="151" y="90"/>
                    </a:lnTo>
                    <a:lnTo>
                      <a:pt x="226" y="90"/>
                    </a:lnTo>
                    <a:lnTo>
                      <a:pt x="230" y="90"/>
                    </a:lnTo>
                    <a:lnTo>
                      <a:pt x="232" y="91"/>
                    </a:lnTo>
                    <a:lnTo>
                      <a:pt x="235" y="92"/>
                    </a:lnTo>
                    <a:lnTo>
                      <a:pt x="237" y="94"/>
                    </a:lnTo>
                    <a:lnTo>
                      <a:pt x="239" y="96"/>
                    </a:lnTo>
                    <a:lnTo>
                      <a:pt x="240" y="98"/>
                    </a:lnTo>
                    <a:lnTo>
                      <a:pt x="241" y="102"/>
                    </a:lnTo>
                    <a:lnTo>
                      <a:pt x="241" y="105"/>
                    </a:lnTo>
                    <a:lnTo>
                      <a:pt x="241" y="108"/>
                    </a:lnTo>
                    <a:lnTo>
                      <a:pt x="240" y="110"/>
                    </a:lnTo>
                    <a:lnTo>
                      <a:pt x="239" y="113"/>
                    </a:lnTo>
                    <a:lnTo>
                      <a:pt x="237" y="116"/>
                    </a:lnTo>
                    <a:lnTo>
                      <a:pt x="235" y="118"/>
                    </a:lnTo>
                    <a:lnTo>
                      <a:pt x="232" y="119"/>
                    </a:lnTo>
                    <a:lnTo>
                      <a:pt x="230" y="120"/>
                    </a:lnTo>
                    <a:lnTo>
                      <a:pt x="226" y="120"/>
                    </a:lnTo>
                    <a:lnTo>
                      <a:pt x="151" y="120"/>
                    </a:lnTo>
                    <a:close/>
                    <a:moveTo>
                      <a:pt x="287" y="304"/>
                    </a:moveTo>
                    <a:lnTo>
                      <a:pt x="287" y="15"/>
                    </a:lnTo>
                    <a:lnTo>
                      <a:pt x="287" y="12"/>
                    </a:lnTo>
                    <a:lnTo>
                      <a:pt x="285" y="8"/>
                    </a:lnTo>
                    <a:lnTo>
                      <a:pt x="284" y="6"/>
                    </a:lnTo>
                    <a:lnTo>
                      <a:pt x="282" y="4"/>
                    </a:lnTo>
                    <a:lnTo>
                      <a:pt x="280" y="2"/>
                    </a:lnTo>
                    <a:lnTo>
                      <a:pt x="278" y="1"/>
                    </a:lnTo>
                    <a:lnTo>
                      <a:pt x="275" y="0"/>
                    </a:lnTo>
                    <a:lnTo>
                      <a:pt x="272" y="0"/>
                    </a:lnTo>
                    <a:lnTo>
                      <a:pt x="136" y="0"/>
                    </a:lnTo>
                    <a:lnTo>
                      <a:pt x="122" y="0"/>
                    </a:lnTo>
                    <a:lnTo>
                      <a:pt x="109" y="2"/>
                    </a:lnTo>
                    <a:lnTo>
                      <a:pt x="96" y="5"/>
                    </a:lnTo>
                    <a:lnTo>
                      <a:pt x="84" y="10"/>
                    </a:lnTo>
                    <a:lnTo>
                      <a:pt x="72" y="16"/>
                    </a:lnTo>
                    <a:lnTo>
                      <a:pt x="60" y="22"/>
                    </a:lnTo>
                    <a:lnTo>
                      <a:pt x="50" y="31"/>
                    </a:lnTo>
                    <a:lnTo>
                      <a:pt x="40" y="39"/>
                    </a:lnTo>
                    <a:lnTo>
                      <a:pt x="31" y="49"/>
                    </a:lnTo>
                    <a:lnTo>
                      <a:pt x="24" y="59"/>
                    </a:lnTo>
                    <a:lnTo>
                      <a:pt x="17" y="71"/>
                    </a:lnTo>
                    <a:lnTo>
                      <a:pt x="11" y="82"/>
                    </a:lnTo>
                    <a:lnTo>
                      <a:pt x="7" y="94"/>
                    </a:lnTo>
                    <a:lnTo>
                      <a:pt x="3" y="108"/>
                    </a:lnTo>
                    <a:lnTo>
                      <a:pt x="1" y="121"/>
                    </a:lnTo>
                    <a:lnTo>
                      <a:pt x="0" y="135"/>
                    </a:lnTo>
                    <a:lnTo>
                      <a:pt x="0" y="361"/>
                    </a:lnTo>
                    <a:lnTo>
                      <a:pt x="196" y="361"/>
                    </a:lnTo>
                    <a:lnTo>
                      <a:pt x="200" y="361"/>
                    </a:lnTo>
                    <a:lnTo>
                      <a:pt x="203" y="362"/>
                    </a:lnTo>
                    <a:lnTo>
                      <a:pt x="210" y="352"/>
                    </a:lnTo>
                    <a:lnTo>
                      <a:pt x="219" y="342"/>
                    </a:lnTo>
                    <a:lnTo>
                      <a:pt x="229" y="333"/>
                    </a:lnTo>
                    <a:lnTo>
                      <a:pt x="239" y="326"/>
                    </a:lnTo>
                    <a:lnTo>
                      <a:pt x="250" y="318"/>
                    </a:lnTo>
                    <a:lnTo>
                      <a:pt x="262" y="312"/>
                    </a:lnTo>
                    <a:lnTo>
                      <a:pt x="274" y="308"/>
                    </a:lnTo>
                    <a:lnTo>
                      <a:pt x="287" y="30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520"/>
              <p:cNvSpPr>
                <a:spLocks/>
              </p:cNvSpPr>
              <p:nvPr/>
            </p:nvSpPr>
            <p:spPr bwMode="auto">
              <a:xfrm>
                <a:off x="1450975" y="2732088"/>
                <a:ext cx="60325" cy="28575"/>
              </a:xfrm>
              <a:custGeom>
                <a:avLst/>
                <a:gdLst>
                  <a:gd name="T0" fmla="*/ 0 w 189"/>
                  <a:gd name="T1" fmla="*/ 0 h 90"/>
                  <a:gd name="T2" fmla="*/ 0 w 189"/>
                  <a:gd name="T3" fmla="*/ 75 h 90"/>
                  <a:gd name="T4" fmla="*/ 1 w 189"/>
                  <a:gd name="T5" fmla="*/ 79 h 90"/>
                  <a:gd name="T6" fmla="*/ 2 w 189"/>
                  <a:gd name="T7" fmla="*/ 81 h 90"/>
                  <a:gd name="T8" fmla="*/ 3 w 189"/>
                  <a:gd name="T9" fmla="*/ 84 h 90"/>
                  <a:gd name="T10" fmla="*/ 6 w 189"/>
                  <a:gd name="T11" fmla="*/ 86 h 90"/>
                  <a:gd name="T12" fmla="*/ 8 w 189"/>
                  <a:gd name="T13" fmla="*/ 87 h 90"/>
                  <a:gd name="T14" fmla="*/ 10 w 189"/>
                  <a:gd name="T15" fmla="*/ 89 h 90"/>
                  <a:gd name="T16" fmla="*/ 13 w 189"/>
                  <a:gd name="T17" fmla="*/ 90 h 90"/>
                  <a:gd name="T18" fmla="*/ 15 w 189"/>
                  <a:gd name="T19" fmla="*/ 90 h 90"/>
                  <a:gd name="T20" fmla="*/ 189 w 189"/>
                  <a:gd name="T21" fmla="*/ 90 h 90"/>
                  <a:gd name="T22" fmla="*/ 186 w 189"/>
                  <a:gd name="T23" fmla="*/ 80 h 90"/>
                  <a:gd name="T24" fmla="*/ 184 w 189"/>
                  <a:gd name="T25" fmla="*/ 68 h 90"/>
                  <a:gd name="T26" fmla="*/ 181 w 189"/>
                  <a:gd name="T27" fmla="*/ 57 h 90"/>
                  <a:gd name="T28" fmla="*/ 181 w 189"/>
                  <a:gd name="T29" fmla="*/ 45 h 90"/>
                  <a:gd name="T30" fmla="*/ 181 w 189"/>
                  <a:gd name="T31" fmla="*/ 33 h 90"/>
                  <a:gd name="T32" fmla="*/ 184 w 189"/>
                  <a:gd name="T33" fmla="*/ 22 h 90"/>
                  <a:gd name="T34" fmla="*/ 186 w 189"/>
                  <a:gd name="T35" fmla="*/ 11 h 90"/>
                  <a:gd name="T36" fmla="*/ 189 w 189"/>
                  <a:gd name="T37" fmla="*/ 0 h 90"/>
                  <a:gd name="T38" fmla="*/ 0 w 189"/>
                  <a:gd name="T39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9" h="90">
                    <a:moveTo>
                      <a:pt x="0" y="0"/>
                    </a:moveTo>
                    <a:lnTo>
                      <a:pt x="0" y="75"/>
                    </a:lnTo>
                    <a:lnTo>
                      <a:pt x="1" y="79"/>
                    </a:lnTo>
                    <a:lnTo>
                      <a:pt x="2" y="81"/>
                    </a:lnTo>
                    <a:lnTo>
                      <a:pt x="3" y="84"/>
                    </a:lnTo>
                    <a:lnTo>
                      <a:pt x="6" y="86"/>
                    </a:lnTo>
                    <a:lnTo>
                      <a:pt x="8" y="87"/>
                    </a:lnTo>
                    <a:lnTo>
                      <a:pt x="10" y="89"/>
                    </a:lnTo>
                    <a:lnTo>
                      <a:pt x="13" y="90"/>
                    </a:lnTo>
                    <a:lnTo>
                      <a:pt x="15" y="90"/>
                    </a:lnTo>
                    <a:lnTo>
                      <a:pt x="189" y="90"/>
                    </a:lnTo>
                    <a:lnTo>
                      <a:pt x="186" y="80"/>
                    </a:lnTo>
                    <a:lnTo>
                      <a:pt x="184" y="68"/>
                    </a:lnTo>
                    <a:lnTo>
                      <a:pt x="181" y="57"/>
                    </a:lnTo>
                    <a:lnTo>
                      <a:pt x="181" y="45"/>
                    </a:lnTo>
                    <a:lnTo>
                      <a:pt x="181" y="33"/>
                    </a:lnTo>
                    <a:lnTo>
                      <a:pt x="184" y="22"/>
                    </a:lnTo>
                    <a:lnTo>
                      <a:pt x="186" y="11"/>
                    </a:lnTo>
                    <a:lnTo>
                      <a:pt x="189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521"/>
              <p:cNvSpPr>
                <a:spLocks/>
              </p:cNvSpPr>
              <p:nvPr/>
            </p:nvSpPr>
            <p:spPr bwMode="auto">
              <a:xfrm>
                <a:off x="1652588" y="2711450"/>
                <a:ext cx="66675" cy="68263"/>
              </a:xfrm>
              <a:custGeom>
                <a:avLst/>
                <a:gdLst>
                  <a:gd name="T0" fmla="*/ 94 w 210"/>
                  <a:gd name="T1" fmla="*/ 1 h 211"/>
                  <a:gd name="T2" fmla="*/ 74 w 210"/>
                  <a:gd name="T3" fmla="*/ 5 h 211"/>
                  <a:gd name="T4" fmla="*/ 55 w 210"/>
                  <a:gd name="T5" fmla="*/ 13 h 211"/>
                  <a:gd name="T6" fmla="*/ 39 w 210"/>
                  <a:gd name="T7" fmla="*/ 25 h 211"/>
                  <a:gd name="T8" fmla="*/ 24 w 210"/>
                  <a:gd name="T9" fmla="*/ 39 h 211"/>
                  <a:gd name="T10" fmla="*/ 13 w 210"/>
                  <a:gd name="T11" fmla="*/ 56 h 211"/>
                  <a:gd name="T12" fmla="*/ 4 w 210"/>
                  <a:gd name="T13" fmla="*/ 75 h 211"/>
                  <a:gd name="T14" fmla="*/ 0 w 210"/>
                  <a:gd name="T15" fmla="*/ 96 h 211"/>
                  <a:gd name="T16" fmla="*/ 0 w 210"/>
                  <a:gd name="T17" fmla="*/ 117 h 211"/>
                  <a:gd name="T18" fmla="*/ 4 w 210"/>
                  <a:gd name="T19" fmla="*/ 137 h 211"/>
                  <a:gd name="T20" fmla="*/ 13 w 210"/>
                  <a:gd name="T21" fmla="*/ 156 h 211"/>
                  <a:gd name="T22" fmla="*/ 24 w 210"/>
                  <a:gd name="T23" fmla="*/ 173 h 211"/>
                  <a:gd name="T24" fmla="*/ 39 w 210"/>
                  <a:gd name="T25" fmla="*/ 187 h 211"/>
                  <a:gd name="T26" fmla="*/ 55 w 210"/>
                  <a:gd name="T27" fmla="*/ 199 h 211"/>
                  <a:gd name="T28" fmla="*/ 74 w 210"/>
                  <a:gd name="T29" fmla="*/ 207 h 211"/>
                  <a:gd name="T30" fmla="*/ 94 w 210"/>
                  <a:gd name="T31" fmla="*/ 210 h 211"/>
                  <a:gd name="T32" fmla="*/ 116 w 210"/>
                  <a:gd name="T33" fmla="*/ 210 h 211"/>
                  <a:gd name="T34" fmla="*/ 136 w 210"/>
                  <a:gd name="T35" fmla="*/ 207 h 211"/>
                  <a:gd name="T36" fmla="*/ 155 w 210"/>
                  <a:gd name="T37" fmla="*/ 199 h 211"/>
                  <a:gd name="T38" fmla="*/ 173 w 210"/>
                  <a:gd name="T39" fmla="*/ 187 h 211"/>
                  <a:gd name="T40" fmla="*/ 187 w 210"/>
                  <a:gd name="T41" fmla="*/ 173 h 211"/>
                  <a:gd name="T42" fmla="*/ 198 w 210"/>
                  <a:gd name="T43" fmla="*/ 156 h 211"/>
                  <a:gd name="T44" fmla="*/ 206 w 210"/>
                  <a:gd name="T45" fmla="*/ 137 h 211"/>
                  <a:gd name="T46" fmla="*/ 210 w 210"/>
                  <a:gd name="T47" fmla="*/ 117 h 211"/>
                  <a:gd name="T48" fmla="*/ 210 w 210"/>
                  <a:gd name="T49" fmla="*/ 96 h 211"/>
                  <a:gd name="T50" fmla="*/ 206 w 210"/>
                  <a:gd name="T51" fmla="*/ 74 h 211"/>
                  <a:gd name="T52" fmla="*/ 198 w 210"/>
                  <a:gd name="T53" fmla="*/ 56 h 211"/>
                  <a:gd name="T54" fmla="*/ 187 w 210"/>
                  <a:gd name="T55" fmla="*/ 39 h 211"/>
                  <a:gd name="T56" fmla="*/ 173 w 210"/>
                  <a:gd name="T57" fmla="*/ 25 h 211"/>
                  <a:gd name="T58" fmla="*/ 155 w 210"/>
                  <a:gd name="T59" fmla="*/ 13 h 211"/>
                  <a:gd name="T60" fmla="*/ 136 w 210"/>
                  <a:gd name="T61" fmla="*/ 5 h 211"/>
                  <a:gd name="T62" fmla="*/ 116 w 210"/>
                  <a:gd name="T63" fmla="*/ 1 h 211"/>
                  <a:gd name="T64" fmla="*/ 105 w 210"/>
                  <a:gd name="T65" fmla="*/ 0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10" h="211">
                    <a:moveTo>
                      <a:pt x="105" y="0"/>
                    </a:moveTo>
                    <a:lnTo>
                      <a:pt x="94" y="1"/>
                    </a:lnTo>
                    <a:lnTo>
                      <a:pt x="84" y="2"/>
                    </a:lnTo>
                    <a:lnTo>
                      <a:pt x="74" y="5"/>
                    </a:lnTo>
                    <a:lnTo>
                      <a:pt x="64" y="9"/>
                    </a:lnTo>
                    <a:lnTo>
                      <a:pt x="55" y="13"/>
                    </a:lnTo>
                    <a:lnTo>
                      <a:pt x="46" y="18"/>
                    </a:lnTo>
                    <a:lnTo>
                      <a:pt x="39" y="25"/>
                    </a:lnTo>
                    <a:lnTo>
                      <a:pt x="31" y="31"/>
                    </a:lnTo>
                    <a:lnTo>
                      <a:pt x="24" y="39"/>
                    </a:lnTo>
                    <a:lnTo>
                      <a:pt x="18" y="47"/>
                    </a:lnTo>
                    <a:lnTo>
                      <a:pt x="13" y="56"/>
                    </a:lnTo>
                    <a:lnTo>
                      <a:pt x="9" y="64"/>
                    </a:lnTo>
                    <a:lnTo>
                      <a:pt x="4" y="75"/>
                    </a:lnTo>
                    <a:lnTo>
                      <a:pt x="2" y="85"/>
                    </a:lnTo>
                    <a:lnTo>
                      <a:pt x="0" y="96"/>
                    </a:lnTo>
                    <a:lnTo>
                      <a:pt x="0" y="106"/>
                    </a:lnTo>
                    <a:lnTo>
                      <a:pt x="0" y="117"/>
                    </a:lnTo>
                    <a:lnTo>
                      <a:pt x="2" y="127"/>
                    </a:lnTo>
                    <a:lnTo>
                      <a:pt x="4" y="137"/>
                    </a:lnTo>
                    <a:lnTo>
                      <a:pt x="9" y="147"/>
                    </a:lnTo>
                    <a:lnTo>
                      <a:pt x="13" y="156"/>
                    </a:lnTo>
                    <a:lnTo>
                      <a:pt x="18" y="165"/>
                    </a:lnTo>
                    <a:lnTo>
                      <a:pt x="24" y="173"/>
                    </a:lnTo>
                    <a:lnTo>
                      <a:pt x="31" y="180"/>
                    </a:lnTo>
                    <a:lnTo>
                      <a:pt x="39" y="187"/>
                    </a:lnTo>
                    <a:lnTo>
                      <a:pt x="46" y="193"/>
                    </a:lnTo>
                    <a:lnTo>
                      <a:pt x="55" y="199"/>
                    </a:lnTo>
                    <a:lnTo>
                      <a:pt x="64" y="203"/>
                    </a:lnTo>
                    <a:lnTo>
                      <a:pt x="74" y="207"/>
                    </a:lnTo>
                    <a:lnTo>
                      <a:pt x="84" y="209"/>
                    </a:lnTo>
                    <a:lnTo>
                      <a:pt x="94" y="210"/>
                    </a:lnTo>
                    <a:lnTo>
                      <a:pt x="105" y="211"/>
                    </a:lnTo>
                    <a:lnTo>
                      <a:pt x="116" y="210"/>
                    </a:lnTo>
                    <a:lnTo>
                      <a:pt x="127" y="209"/>
                    </a:lnTo>
                    <a:lnTo>
                      <a:pt x="136" y="207"/>
                    </a:lnTo>
                    <a:lnTo>
                      <a:pt x="146" y="203"/>
                    </a:lnTo>
                    <a:lnTo>
                      <a:pt x="155" y="199"/>
                    </a:lnTo>
                    <a:lnTo>
                      <a:pt x="164" y="193"/>
                    </a:lnTo>
                    <a:lnTo>
                      <a:pt x="173" y="187"/>
                    </a:lnTo>
                    <a:lnTo>
                      <a:pt x="180" y="180"/>
                    </a:lnTo>
                    <a:lnTo>
                      <a:pt x="187" y="173"/>
                    </a:lnTo>
                    <a:lnTo>
                      <a:pt x="193" y="165"/>
                    </a:lnTo>
                    <a:lnTo>
                      <a:pt x="198" y="156"/>
                    </a:lnTo>
                    <a:lnTo>
                      <a:pt x="203" y="147"/>
                    </a:lnTo>
                    <a:lnTo>
                      <a:pt x="206" y="137"/>
                    </a:lnTo>
                    <a:lnTo>
                      <a:pt x="208" y="127"/>
                    </a:lnTo>
                    <a:lnTo>
                      <a:pt x="210" y="117"/>
                    </a:lnTo>
                    <a:lnTo>
                      <a:pt x="210" y="106"/>
                    </a:lnTo>
                    <a:lnTo>
                      <a:pt x="210" y="96"/>
                    </a:lnTo>
                    <a:lnTo>
                      <a:pt x="208" y="85"/>
                    </a:lnTo>
                    <a:lnTo>
                      <a:pt x="206" y="74"/>
                    </a:lnTo>
                    <a:lnTo>
                      <a:pt x="203" y="64"/>
                    </a:lnTo>
                    <a:lnTo>
                      <a:pt x="198" y="56"/>
                    </a:lnTo>
                    <a:lnTo>
                      <a:pt x="193" y="47"/>
                    </a:lnTo>
                    <a:lnTo>
                      <a:pt x="187" y="39"/>
                    </a:lnTo>
                    <a:lnTo>
                      <a:pt x="180" y="31"/>
                    </a:lnTo>
                    <a:lnTo>
                      <a:pt x="173" y="25"/>
                    </a:lnTo>
                    <a:lnTo>
                      <a:pt x="164" y="18"/>
                    </a:lnTo>
                    <a:lnTo>
                      <a:pt x="155" y="13"/>
                    </a:lnTo>
                    <a:lnTo>
                      <a:pt x="146" y="9"/>
                    </a:lnTo>
                    <a:lnTo>
                      <a:pt x="136" y="5"/>
                    </a:lnTo>
                    <a:lnTo>
                      <a:pt x="127" y="2"/>
                    </a:lnTo>
                    <a:lnTo>
                      <a:pt x="116" y="1"/>
                    </a:lnTo>
                    <a:lnTo>
                      <a:pt x="105" y="0"/>
                    </a:lnTo>
                    <a:lnTo>
                      <a:pt x="10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522"/>
              <p:cNvSpPr>
                <a:spLocks/>
              </p:cNvSpPr>
              <p:nvPr/>
            </p:nvSpPr>
            <p:spPr bwMode="auto">
              <a:xfrm>
                <a:off x="1519238" y="2711450"/>
                <a:ext cx="66675" cy="68263"/>
              </a:xfrm>
              <a:custGeom>
                <a:avLst/>
                <a:gdLst>
                  <a:gd name="T0" fmla="*/ 95 w 211"/>
                  <a:gd name="T1" fmla="*/ 1 h 211"/>
                  <a:gd name="T2" fmla="*/ 74 w 211"/>
                  <a:gd name="T3" fmla="*/ 5 h 211"/>
                  <a:gd name="T4" fmla="*/ 55 w 211"/>
                  <a:gd name="T5" fmla="*/ 13 h 211"/>
                  <a:gd name="T6" fmla="*/ 39 w 211"/>
                  <a:gd name="T7" fmla="*/ 25 h 211"/>
                  <a:gd name="T8" fmla="*/ 24 w 211"/>
                  <a:gd name="T9" fmla="*/ 39 h 211"/>
                  <a:gd name="T10" fmla="*/ 13 w 211"/>
                  <a:gd name="T11" fmla="*/ 56 h 211"/>
                  <a:gd name="T12" fmla="*/ 5 w 211"/>
                  <a:gd name="T13" fmla="*/ 75 h 211"/>
                  <a:gd name="T14" fmla="*/ 0 w 211"/>
                  <a:gd name="T15" fmla="*/ 96 h 211"/>
                  <a:gd name="T16" fmla="*/ 0 w 211"/>
                  <a:gd name="T17" fmla="*/ 117 h 211"/>
                  <a:gd name="T18" fmla="*/ 5 w 211"/>
                  <a:gd name="T19" fmla="*/ 137 h 211"/>
                  <a:gd name="T20" fmla="*/ 13 w 211"/>
                  <a:gd name="T21" fmla="*/ 156 h 211"/>
                  <a:gd name="T22" fmla="*/ 24 w 211"/>
                  <a:gd name="T23" fmla="*/ 173 h 211"/>
                  <a:gd name="T24" fmla="*/ 39 w 211"/>
                  <a:gd name="T25" fmla="*/ 187 h 211"/>
                  <a:gd name="T26" fmla="*/ 55 w 211"/>
                  <a:gd name="T27" fmla="*/ 199 h 211"/>
                  <a:gd name="T28" fmla="*/ 74 w 211"/>
                  <a:gd name="T29" fmla="*/ 207 h 211"/>
                  <a:gd name="T30" fmla="*/ 95 w 211"/>
                  <a:gd name="T31" fmla="*/ 210 h 211"/>
                  <a:gd name="T32" fmla="*/ 116 w 211"/>
                  <a:gd name="T33" fmla="*/ 210 h 211"/>
                  <a:gd name="T34" fmla="*/ 137 w 211"/>
                  <a:gd name="T35" fmla="*/ 207 h 211"/>
                  <a:gd name="T36" fmla="*/ 156 w 211"/>
                  <a:gd name="T37" fmla="*/ 199 h 211"/>
                  <a:gd name="T38" fmla="*/ 173 w 211"/>
                  <a:gd name="T39" fmla="*/ 187 h 211"/>
                  <a:gd name="T40" fmla="*/ 187 w 211"/>
                  <a:gd name="T41" fmla="*/ 173 h 211"/>
                  <a:gd name="T42" fmla="*/ 199 w 211"/>
                  <a:gd name="T43" fmla="*/ 156 h 211"/>
                  <a:gd name="T44" fmla="*/ 206 w 211"/>
                  <a:gd name="T45" fmla="*/ 137 h 211"/>
                  <a:gd name="T46" fmla="*/ 211 w 211"/>
                  <a:gd name="T47" fmla="*/ 117 h 211"/>
                  <a:gd name="T48" fmla="*/ 211 w 211"/>
                  <a:gd name="T49" fmla="*/ 96 h 211"/>
                  <a:gd name="T50" fmla="*/ 206 w 211"/>
                  <a:gd name="T51" fmla="*/ 74 h 211"/>
                  <a:gd name="T52" fmla="*/ 199 w 211"/>
                  <a:gd name="T53" fmla="*/ 56 h 211"/>
                  <a:gd name="T54" fmla="*/ 187 w 211"/>
                  <a:gd name="T55" fmla="*/ 39 h 211"/>
                  <a:gd name="T56" fmla="*/ 173 w 211"/>
                  <a:gd name="T57" fmla="*/ 25 h 211"/>
                  <a:gd name="T58" fmla="*/ 156 w 211"/>
                  <a:gd name="T59" fmla="*/ 13 h 211"/>
                  <a:gd name="T60" fmla="*/ 137 w 211"/>
                  <a:gd name="T61" fmla="*/ 5 h 211"/>
                  <a:gd name="T62" fmla="*/ 116 w 211"/>
                  <a:gd name="T63" fmla="*/ 1 h 211"/>
                  <a:gd name="T64" fmla="*/ 106 w 211"/>
                  <a:gd name="T65" fmla="*/ 0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11" h="211">
                    <a:moveTo>
                      <a:pt x="106" y="0"/>
                    </a:moveTo>
                    <a:lnTo>
                      <a:pt x="95" y="1"/>
                    </a:lnTo>
                    <a:lnTo>
                      <a:pt x="84" y="2"/>
                    </a:lnTo>
                    <a:lnTo>
                      <a:pt x="74" y="5"/>
                    </a:lnTo>
                    <a:lnTo>
                      <a:pt x="65" y="9"/>
                    </a:lnTo>
                    <a:lnTo>
                      <a:pt x="55" y="13"/>
                    </a:lnTo>
                    <a:lnTo>
                      <a:pt x="47" y="18"/>
                    </a:lnTo>
                    <a:lnTo>
                      <a:pt x="39" y="25"/>
                    </a:lnTo>
                    <a:lnTo>
                      <a:pt x="32" y="31"/>
                    </a:lnTo>
                    <a:lnTo>
                      <a:pt x="24" y="39"/>
                    </a:lnTo>
                    <a:lnTo>
                      <a:pt x="19" y="47"/>
                    </a:lnTo>
                    <a:lnTo>
                      <a:pt x="13" y="56"/>
                    </a:lnTo>
                    <a:lnTo>
                      <a:pt x="9" y="64"/>
                    </a:lnTo>
                    <a:lnTo>
                      <a:pt x="5" y="75"/>
                    </a:lnTo>
                    <a:lnTo>
                      <a:pt x="3" y="85"/>
                    </a:lnTo>
                    <a:lnTo>
                      <a:pt x="0" y="96"/>
                    </a:lnTo>
                    <a:lnTo>
                      <a:pt x="0" y="106"/>
                    </a:lnTo>
                    <a:lnTo>
                      <a:pt x="0" y="117"/>
                    </a:lnTo>
                    <a:lnTo>
                      <a:pt x="3" y="127"/>
                    </a:lnTo>
                    <a:lnTo>
                      <a:pt x="5" y="137"/>
                    </a:lnTo>
                    <a:lnTo>
                      <a:pt x="9" y="147"/>
                    </a:lnTo>
                    <a:lnTo>
                      <a:pt x="13" y="156"/>
                    </a:lnTo>
                    <a:lnTo>
                      <a:pt x="19" y="165"/>
                    </a:lnTo>
                    <a:lnTo>
                      <a:pt x="24" y="173"/>
                    </a:lnTo>
                    <a:lnTo>
                      <a:pt x="32" y="180"/>
                    </a:lnTo>
                    <a:lnTo>
                      <a:pt x="39" y="187"/>
                    </a:lnTo>
                    <a:lnTo>
                      <a:pt x="47" y="193"/>
                    </a:lnTo>
                    <a:lnTo>
                      <a:pt x="55" y="199"/>
                    </a:lnTo>
                    <a:lnTo>
                      <a:pt x="65" y="203"/>
                    </a:lnTo>
                    <a:lnTo>
                      <a:pt x="74" y="207"/>
                    </a:lnTo>
                    <a:lnTo>
                      <a:pt x="84" y="209"/>
                    </a:lnTo>
                    <a:lnTo>
                      <a:pt x="95" y="210"/>
                    </a:lnTo>
                    <a:lnTo>
                      <a:pt x="106" y="211"/>
                    </a:lnTo>
                    <a:lnTo>
                      <a:pt x="116" y="210"/>
                    </a:lnTo>
                    <a:lnTo>
                      <a:pt x="127" y="209"/>
                    </a:lnTo>
                    <a:lnTo>
                      <a:pt x="137" y="207"/>
                    </a:lnTo>
                    <a:lnTo>
                      <a:pt x="146" y="203"/>
                    </a:lnTo>
                    <a:lnTo>
                      <a:pt x="156" y="199"/>
                    </a:lnTo>
                    <a:lnTo>
                      <a:pt x="165" y="193"/>
                    </a:lnTo>
                    <a:lnTo>
                      <a:pt x="173" y="187"/>
                    </a:lnTo>
                    <a:lnTo>
                      <a:pt x="181" y="180"/>
                    </a:lnTo>
                    <a:lnTo>
                      <a:pt x="187" y="173"/>
                    </a:lnTo>
                    <a:lnTo>
                      <a:pt x="194" y="165"/>
                    </a:lnTo>
                    <a:lnTo>
                      <a:pt x="199" y="156"/>
                    </a:lnTo>
                    <a:lnTo>
                      <a:pt x="203" y="147"/>
                    </a:lnTo>
                    <a:lnTo>
                      <a:pt x="206" y="137"/>
                    </a:lnTo>
                    <a:lnTo>
                      <a:pt x="209" y="127"/>
                    </a:lnTo>
                    <a:lnTo>
                      <a:pt x="211" y="117"/>
                    </a:lnTo>
                    <a:lnTo>
                      <a:pt x="211" y="106"/>
                    </a:lnTo>
                    <a:lnTo>
                      <a:pt x="211" y="96"/>
                    </a:lnTo>
                    <a:lnTo>
                      <a:pt x="209" y="85"/>
                    </a:lnTo>
                    <a:lnTo>
                      <a:pt x="206" y="74"/>
                    </a:lnTo>
                    <a:lnTo>
                      <a:pt x="203" y="64"/>
                    </a:lnTo>
                    <a:lnTo>
                      <a:pt x="199" y="56"/>
                    </a:lnTo>
                    <a:lnTo>
                      <a:pt x="194" y="47"/>
                    </a:lnTo>
                    <a:lnTo>
                      <a:pt x="187" y="39"/>
                    </a:lnTo>
                    <a:lnTo>
                      <a:pt x="181" y="31"/>
                    </a:lnTo>
                    <a:lnTo>
                      <a:pt x="173" y="25"/>
                    </a:lnTo>
                    <a:lnTo>
                      <a:pt x="165" y="18"/>
                    </a:lnTo>
                    <a:lnTo>
                      <a:pt x="156" y="13"/>
                    </a:lnTo>
                    <a:lnTo>
                      <a:pt x="146" y="9"/>
                    </a:lnTo>
                    <a:lnTo>
                      <a:pt x="137" y="5"/>
                    </a:lnTo>
                    <a:lnTo>
                      <a:pt x="127" y="2"/>
                    </a:lnTo>
                    <a:lnTo>
                      <a:pt x="116" y="1"/>
                    </a:lnTo>
                    <a:lnTo>
                      <a:pt x="106" y="0"/>
                    </a:lnTo>
                    <a:lnTo>
                      <a:pt x="10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03" name="Text Placeholder 2"/>
          <p:cNvSpPr txBox="1">
            <a:spLocks/>
          </p:cNvSpPr>
          <p:nvPr/>
        </p:nvSpPr>
        <p:spPr>
          <a:xfrm>
            <a:off x="826809" y="1657888"/>
            <a:ext cx="3427830" cy="10900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 Lorem Ipsum has been the industry's standard dummy text ever since the 1500s, when an unknown printer took a galley of type and scrambled it to make a type specimen book. </a:t>
            </a:r>
          </a:p>
        </p:txBody>
      </p:sp>
      <p:sp>
        <p:nvSpPr>
          <p:cNvPr id="104" name="Text Placeholder 2"/>
          <p:cNvSpPr txBox="1">
            <a:spLocks/>
          </p:cNvSpPr>
          <p:nvPr/>
        </p:nvSpPr>
        <p:spPr>
          <a:xfrm>
            <a:off x="8979800" y="2091934"/>
            <a:ext cx="125636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ct val="100000"/>
              </a:lnSpc>
              <a:spcBef>
                <a:spcPts val="0"/>
              </a:spcBef>
            </a:pPr>
            <a:r>
              <a:rPr lang="en-US" sz="1400" dirty="0">
                <a:solidFill>
                  <a:srgbClr val="B0F7F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</a:t>
            </a:r>
          </a:p>
        </p:txBody>
      </p:sp>
      <p:sp>
        <p:nvSpPr>
          <p:cNvPr id="106" name="Text Placeholder 2"/>
          <p:cNvSpPr txBox="1">
            <a:spLocks/>
          </p:cNvSpPr>
          <p:nvPr/>
        </p:nvSpPr>
        <p:spPr>
          <a:xfrm>
            <a:off x="8977783" y="2400730"/>
            <a:ext cx="2407583" cy="4360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</a:t>
            </a:r>
          </a:p>
        </p:txBody>
      </p:sp>
      <p:sp>
        <p:nvSpPr>
          <p:cNvPr id="107" name="Text Placeholder 2"/>
          <p:cNvSpPr txBox="1">
            <a:spLocks/>
          </p:cNvSpPr>
          <p:nvPr/>
        </p:nvSpPr>
        <p:spPr>
          <a:xfrm>
            <a:off x="7689967" y="3110315"/>
            <a:ext cx="125636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ct val="100000"/>
              </a:lnSpc>
              <a:spcBef>
                <a:spcPts val="0"/>
              </a:spcBef>
            </a:pPr>
            <a:r>
              <a:rPr lang="en-US" sz="1400" dirty="0">
                <a:solidFill>
                  <a:srgbClr val="B0F7F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</a:t>
            </a:r>
          </a:p>
        </p:txBody>
      </p:sp>
      <p:sp>
        <p:nvSpPr>
          <p:cNvPr id="108" name="Text Placeholder 2"/>
          <p:cNvSpPr txBox="1">
            <a:spLocks/>
          </p:cNvSpPr>
          <p:nvPr/>
        </p:nvSpPr>
        <p:spPr>
          <a:xfrm>
            <a:off x="7687950" y="3419111"/>
            <a:ext cx="2407583" cy="4360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</a:t>
            </a:r>
          </a:p>
        </p:txBody>
      </p:sp>
      <p:sp>
        <p:nvSpPr>
          <p:cNvPr id="109" name="Text Placeholder 2"/>
          <p:cNvSpPr txBox="1">
            <a:spLocks/>
          </p:cNvSpPr>
          <p:nvPr/>
        </p:nvSpPr>
        <p:spPr>
          <a:xfrm>
            <a:off x="6380784" y="4116726"/>
            <a:ext cx="125636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ct val="100000"/>
              </a:lnSpc>
              <a:spcBef>
                <a:spcPts val="0"/>
              </a:spcBef>
            </a:pPr>
            <a:r>
              <a:rPr lang="en-US" sz="1400" dirty="0">
                <a:solidFill>
                  <a:srgbClr val="B0F7F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</a:t>
            </a:r>
          </a:p>
        </p:txBody>
      </p:sp>
      <p:sp>
        <p:nvSpPr>
          <p:cNvPr id="110" name="Text Placeholder 2"/>
          <p:cNvSpPr txBox="1">
            <a:spLocks/>
          </p:cNvSpPr>
          <p:nvPr/>
        </p:nvSpPr>
        <p:spPr>
          <a:xfrm>
            <a:off x="6378767" y="4425522"/>
            <a:ext cx="2407583" cy="4360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</a:t>
            </a:r>
          </a:p>
        </p:txBody>
      </p:sp>
      <p:sp>
        <p:nvSpPr>
          <p:cNvPr id="111" name="Text Placeholder 2"/>
          <p:cNvSpPr txBox="1">
            <a:spLocks/>
          </p:cNvSpPr>
          <p:nvPr/>
        </p:nvSpPr>
        <p:spPr>
          <a:xfrm>
            <a:off x="5096272" y="5127452"/>
            <a:ext cx="125636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ct val="100000"/>
              </a:lnSpc>
              <a:spcBef>
                <a:spcPts val="0"/>
              </a:spcBef>
            </a:pPr>
            <a:r>
              <a:rPr lang="en-US" sz="1400" dirty="0">
                <a:solidFill>
                  <a:srgbClr val="B0F7F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</a:t>
            </a:r>
          </a:p>
        </p:txBody>
      </p:sp>
      <p:sp>
        <p:nvSpPr>
          <p:cNvPr id="112" name="Text Placeholder 2"/>
          <p:cNvSpPr txBox="1">
            <a:spLocks/>
          </p:cNvSpPr>
          <p:nvPr/>
        </p:nvSpPr>
        <p:spPr>
          <a:xfrm>
            <a:off x="5094255" y="5436248"/>
            <a:ext cx="2407583" cy="4360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</a:t>
            </a:r>
          </a:p>
        </p:txBody>
      </p:sp>
      <p:sp>
        <p:nvSpPr>
          <p:cNvPr id="113" name="Freeform 7"/>
          <p:cNvSpPr>
            <a:spLocks/>
          </p:cNvSpPr>
          <p:nvPr/>
        </p:nvSpPr>
        <p:spPr bwMode="auto">
          <a:xfrm>
            <a:off x="10781752" y="5001347"/>
            <a:ext cx="2995886" cy="1489199"/>
          </a:xfrm>
          <a:custGeom>
            <a:avLst/>
            <a:gdLst>
              <a:gd name="T0" fmla="*/ 0 w 2227"/>
              <a:gd name="T1" fmla="*/ 1107 h 1107"/>
              <a:gd name="T2" fmla="*/ 2227 w 2227"/>
              <a:gd name="T3" fmla="*/ 1107 h 1107"/>
              <a:gd name="T4" fmla="*/ 1121 w 2227"/>
              <a:gd name="T5" fmla="*/ 0 h 1107"/>
              <a:gd name="T6" fmla="*/ 0 w 2227"/>
              <a:gd name="T7" fmla="*/ 1107 h 1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27" h="1107">
                <a:moveTo>
                  <a:pt x="0" y="1107"/>
                </a:moveTo>
                <a:lnTo>
                  <a:pt x="2227" y="1107"/>
                </a:lnTo>
                <a:lnTo>
                  <a:pt x="1121" y="0"/>
                </a:lnTo>
                <a:lnTo>
                  <a:pt x="0" y="1107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" name="Freeform 8"/>
          <p:cNvSpPr>
            <a:spLocks/>
          </p:cNvSpPr>
          <p:nvPr/>
        </p:nvSpPr>
        <p:spPr bwMode="auto">
          <a:xfrm>
            <a:off x="8212883" y="5908050"/>
            <a:ext cx="1173064" cy="582496"/>
          </a:xfrm>
          <a:custGeom>
            <a:avLst/>
            <a:gdLst>
              <a:gd name="T0" fmla="*/ 0 w 872"/>
              <a:gd name="T1" fmla="*/ 433 h 433"/>
              <a:gd name="T2" fmla="*/ 872 w 872"/>
              <a:gd name="T3" fmla="*/ 433 h 433"/>
              <a:gd name="T4" fmla="*/ 440 w 872"/>
              <a:gd name="T5" fmla="*/ 0 h 433"/>
              <a:gd name="T6" fmla="*/ 0 w 872"/>
              <a:gd name="T7" fmla="*/ 433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2" h="433">
                <a:moveTo>
                  <a:pt x="0" y="433"/>
                </a:moveTo>
                <a:lnTo>
                  <a:pt x="872" y="433"/>
                </a:lnTo>
                <a:lnTo>
                  <a:pt x="440" y="0"/>
                </a:lnTo>
                <a:lnTo>
                  <a:pt x="0" y="433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" name="Freeform 19"/>
          <p:cNvSpPr>
            <a:spLocks/>
          </p:cNvSpPr>
          <p:nvPr/>
        </p:nvSpPr>
        <p:spPr bwMode="auto">
          <a:xfrm>
            <a:off x="9427288" y="5637653"/>
            <a:ext cx="1717892" cy="852893"/>
          </a:xfrm>
          <a:custGeom>
            <a:avLst/>
            <a:gdLst>
              <a:gd name="T0" fmla="*/ 0 w 1277"/>
              <a:gd name="T1" fmla="*/ 634 h 634"/>
              <a:gd name="T2" fmla="*/ 1277 w 1277"/>
              <a:gd name="T3" fmla="*/ 634 h 634"/>
              <a:gd name="T4" fmla="*/ 641 w 1277"/>
              <a:gd name="T5" fmla="*/ 0 h 634"/>
              <a:gd name="T6" fmla="*/ 0 w 1277"/>
              <a:gd name="T7" fmla="*/ 634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77" h="634">
                <a:moveTo>
                  <a:pt x="0" y="634"/>
                </a:moveTo>
                <a:lnTo>
                  <a:pt x="1277" y="634"/>
                </a:lnTo>
                <a:lnTo>
                  <a:pt x="641" y="0"/>
                </a:lnTo>
                <a:lnTo>
                  <a:pt x="0" y="634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" name="Freeform 13"/>
          <p:cNvSpPr>
            <a:spLocks/>
          </p:cNvSpPr>
          <p:nvPr/>
        </p:nvSpPr>
        <p:spPr bwMode="auto">
          <a:xfrm>
            <a:off x="11273234" y="6156922"/>
            <a:ext cx="671283" cy="333624"/>
          </a:xfrm>
          <a:custGeom>
            <a:avLst/>
            <a:gdLst>
              <a:gd name="T0" fmla="*/ 0 w 499"/>
              <a:gd name="T1" fmla="*/ 248 h 248"/>
              <a:gd name="T2" fmla="*/ 499 w 499"/>
              <a:gd name="T3" fmla="*/ 248 h 248"/>
              <a:gd name="T4" fmla="*/ 250 w 499"/>
              <a:gd name="T5" fmla="*/ 0 h 248"/>
              <a:gd name="T6" fmla="*/ 0 w 499"/>
              <a:gd name="T7" fmla="*/ 248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9" h="248">
                <a:moveTo>
                  <a:pt x="0" y="248"/>
                </a:moveTo>
                <a:lnTo>
                  <a:pt x="499" y="248"/>
                </a:lnTo>
                <a:lnTo>
                  <a:pt x="250" y="0"/>
                </a:lnTo>
                <a:lnTo>
                  <a:pt x="0" y="248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" name="Freeform 14"/>
          <p:cNvSpPr>
            <a:spLocks/>
          </p:cNvSpPr>
          <p:nvPr/>
        </p:nvSpPr>
        <p:spPr bwMode="auto">
          <a:xfrm>
            <a:off x="9171688" y="6236293"/>
            <a:ext cx="511197" cy="254253"/>
          </a:xfrm>
          <a:custGeom>
            <a:avLst/>
            <a:gdLst>
              <a:gd name="T0" fmla="*/ 0 w 380"/>
              <a:gd name="T1" fmla="*/ 189 h 189"/>
              <a:gd name="T2" fmla="*/ 380 w 380"/>
              <a:gd name="T3" fmla="*/ 189 h 189"/>
              <a:gd name="T4" fmla="*/ 191 w 380"/>
              <a:gd name="T5" fmla="*/ 0 h 189"/>
              <a:gd name="T6" fmla="*/ 0 w 380"/>
              <a:gd name="T7" fmla="*/ 189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0" h="189">
                <a:moveTo>
                  <a:pt x="0" y="189"/>
                </a:moveTo>
                <a:lnTo>
                  <a:pt x="380" y="189"/>
                </a:lnTo>
                <a:lnTo>
                  <a:pt x="191" y="0"/>
                </a:lnTo>
                <a:lnTo>
                  <a:pt x="0" y="189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" name="Freeform 15"/>
          <p:cNvSpPr>
            <a:spLocks/>
          </p:cNvSpPr>
          <p:nvPr/>
        </p:nvSpPr>
        <p:spPr bwMode="auto">
          <a:xfrm>
            <a:off x="8983352" y="6325079"/>
            <a:ext cx="333624" cy="165467"/>
          </a:xfrm>
          <a:custGeom>
            <a:avLst/>
            <a:gdLst>
              <a:gd name="T0" fmla="*/ 0 w 248"/>
              <a:gd name="T1" fmla="*/ 123 h 123"/>
              <a:gd name="T2" fmla="*/ 248 w 248"/>
              <a:gd name="T3" fmla="*/ 123 h 123"/>
              <a:gd name="T4" fmla="*/ 125 w 248"/>
              <a:gd name="T5" fmla="*/ 0 h 123"/>
              <a:gd name="T6" fmla="*/ 0 w 248"/>
              <a:gd name="T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8" h="123">
                <a:moveTo>
                  <a:pt x="0" y="123"/>
                </a:moveTo>
                <a:lnTo>
                  <a:pt x="248" y="123"/>
                </a:lnTo>
                <a:lnTo>
                  <a:pt x="125" y="0"/>
                </a:lnTo>
                <a:lnTo>
                  <a:pt x="0" y="123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" name="Freeform 51"/>
          <p:cNvSpPr>
            <a:spLocks/>
          </p:cNvSpPr>
          <p:nvPr/>
        </p:nvSpPr>
        <p:spPr bwMode="auto">
          <a:xfrm>
            <a:off x="9763778" y="6490908"/>
            <a:ext cx="1304130" cy="647700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" name="Freeform 51"/>
          <p:cNvSpPr>
            <a:spLocks/>
          </p:cNvSpPr>
          <p:nvPr/>
        </p:nvSpPr>
        <p:spPr bwMode="auto">
          <a:xfrm>
            <a:off x="8616906" y="6490908"/>
            <a:ext cx="700070" cy="347692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" name="Freeform 51"/>
          <p:cNvSpPr>
            <a:spLocks/>
          </p:cNvSpPr>
          <p:nvPr/>
        </p:nvSpPr>
        <p:spPr bwMode="auto">
          <a:xfrm>
            <a:off x="10959405" y="6490907"/>
            <a:ext cx="3630126" cy="1802913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" name="Freeform 51"/>
          <p:cNvSpPr>
            <a:spLocks/>
          </p:cNvSpPr>
          <p:nvPr/>
        </p:nvSpPr>
        <p:spPr bwMode="auto">
          <a:xfrm>
            <a:off x="11360415" y="6490908"/>
            <a:ext cx="536540" cy="266474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6942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88891" cy="3236914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Rectangle 48"/>
          <p:cNvSpPr>
            <a:spLocks noChangeArrowheads="1"/>
          </p:cNvSpPr>
          <p:nvPr/>
        </p:nvSpPr>
        <p:spPr bwMode="auto">
          <a:xfrm>
            <a:off x="0" y="3230294"/>
            <a:ext cx="12188890" cy="3627706"/>
          </a:xfrm>
          <a:prstGeom prst="rect">
            <a:avLst/>
          </a:prstGeom>
          <a:gradFill flip="none" rotWithShape="1">
            <a:gsLst>
              <a:gs pos="100000">
                <a:srgbClr val="070C1E"/>
              </a:gs>
              <a:gs pos="0">
                <a:srgbClr val="122141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116" name="Straight Connector 115"/>
          <p:cNvCxnSpPr/>
          <p:nvPr/>
        </p:nvCxnSpPr>
        <p:spPr>
          <a:xfrm>
            <a:off x="0" y="3489326"/>
            <a:ext cx="10500346" cy="0"/>
          </a:xfrm>
          <a:prstGeom prst="line">
            <a:avLst/>
          </a:prstGeom>
          <a:ln w="28575">
            <a:solidFill>
              <a:srgbClr val="B0F7F4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/>
        </p:nvGrpSpPr>
        <p:grpSpPr>
          <a:xfrm>
            <a:off x="721677" y="901249"/>
            <a:ext cx="10809135" cy="1239841"/>
            <a:chOff x="814298" y="3603943"/>
            <a:chExt cx="10809135" cy="1239841"/>
          </a:xfrm>
        </p:grpSpPr>
        <p:sp>
          <p:nvSpPr>
            <p:cNvPr id="17" name="Oval 58"/>
            <p:cNvSpPr>
              <a:spLocks noChangeArrowheads="1"/>
            </p:cNvSpPr>
            <p:nvPr/>
          </p:nvSpPr>
          <p:spPr bwMode="auto">
            <a:xfrm>
              <a:off x="2519653" y="4608849"/>
              <a:ext cx="72644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Oval 59"/>
            <p:cNvSpPr>
              <a:spLocks noChangeArrowheads="1"/>
            </p:cNvSpPr>
            <p:nvPr/>
          </p:nvSpPr>
          <p:spPr bwMode="auto">
            <a:xfrm>
              <a:off x="4933869" y="4743624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Oval 60"/>
            <p:cNvSpPr>
              <a:spLocks noChangeArrowheads="1"/>
            </p:cNvSpPr>
            <p:nvPr/>
          </p:nvSpPr>
          <p:spPr bwMode="auto">
            <a:xfrm>
              <a:off x="5415075" y="3921423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Oval 61"/>
            <p:cNvSpPr>
              <a:spLocks noChangeArrowheads="1"/>
            </p:cNvSpPr>
            <p:nvPr/>
          </p:nvSpPr>
          <p:spPr bwMode="auto">
            <a:xfrm>
              <a:off x="814298" y="4182814"/>
              <a:ext cx="72644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Oval 62"/>
            <p:cNvSpPr>
              <a:spLocks noChangeArrowheads="1"/>
            </p:cNvSpPr>
            <p:nvPr/>
          </p:nvSpPr>
          <p:spPr bwMode="auto">
            <a:xfrm>
              <a:off x="1949695" y="4214689"/>
              <a:ext cx="7533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Oval 63"/>
            <p:cNvSpPr>
              <a:spLocks noChangeArrowheads="1"/>
            </p:cNvSpPr>
            <p:nvPr/>
          </p:nvSpPr>
          <p:spPr bwMode="auto">
            <a:xfrm>
              <a:off x="3917805" y="4007520"/>
              <a:ext cx="76680" cy="73989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Oval 64"/>
            <p:cNvSpPr>
              <a:spLocks noChangeArrowheads="1"/>
            </p:cNvSpPr>
            <p:nvPr/>
          </p:nvSpPr>
          <p:spPr bwMode="auto">
            <a:xfrm>
              <a:off x="7754634" y="4693116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Oval 65"/>
            <p:cNvSpPr>
              <a:spLocks noChangeArrowheads="1"/>
            </p:cNvSpPr>
            <p:nvPr/>
          </p:nvSpPr>
          <p:spPr bwMode="auto">
            <a:xfrm>
              <a:off x="6117299" y="4625688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66"/>
            <p:cNvSpPr>
              <a:spLocks noChangeArrowheads="1"/>
            </p:cNvSpPr>
            <p:nvPr/>
          </p:nvSpPr>
          <p:spPr bwMode="auto">
            <a:xfrm>
              <a:off x="9675018" y="4768450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Oval 67"/>
            <p:cNvSpPr>
              <a:spLocks noChangeArrowheads="1"/>
            </p:cNvSpPr>
            <p:nvPr/>
          </p:nvSpPr>
          <p:spPr bwMode="auto">
            <a:xfrm>
              <a:off x="1189625" y="4272535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Oval 68"/>
            <p:cNvSpPr>
              <a:spLocks noChangeArrowheads="1"/>
            </p:cNvSpPr>
            <p:nvPr/>
          </p:nvSpPr>
          <p:spPr bwMode="auto">
            <a:xfrm>
              <a:off x="6664818" y="3816493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Oval 69"/>
            <p:cNvSpPr>
              <a:spLocks noChangeArrowheads="1"/>
            </p:cNvSpPr>
            <p:nvPr/>
          </p:nvSpPr>
          <p:spPr bwMode="auto">
            <a:xfrm>
              <a:off x="11226976" y="4275707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Oval 70"/>
            <p:cNvSpPr>
              <a:spLocks noChangeArrowheads="1"/>
            </p:cNvSpPr>
            <p:nvPr/>
          </p:nvSpPr>
          <p:spPr bwMode="auto">
            <a:xfrm>
              <a:off x="10592967" y="3603943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Oval 71"/>
            <p:cNvSpPr>
              <a:spLocks noChangeArrowheads="1"/>
            </p:cNvSpPr>
            <p:nvPr/>
          </p:nvSpPr>
          <p:spPr bwMode="auto">
            <a:xfrm>
              <a:off x="9224973" y="3921423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Oval 72"/>
            <p:cNvSpPr>
              <a:spLocks noChangeArrowheads="1"/>
            </p:cNvSpPr>
            <p:nvPr/>
          </p:nvSpPr>
          <p:spPr bwMode="auto">
            <a:xfrm>
              <a:off x="7267601" y="4033708"/>
              <a:ext cx="76680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Oval 73"/>
            <p:cNvSpPr>
              <a:spLocks noChangeArrowheads="1"/>
            </p:cNvSpPr>
            <p:nvPr/>
          </p:nvSpPr>
          <p:spPr bwMode="auto">
            <a:xfrm>
              <a:off x="8406483" y="4471768"/>
              <a:ext cx="7264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74"/>
            <p:cNvSpPr>
              <a:spLocks noChangeArrowheads="1"/>
            </p:cNvSpPr>
            <p:nvPr/>
          </p:nvSpPr>
          <p:spPr bwMode="auto">
            <a:xfrm>
              <a:off x="2841598" y="4281114"/>
              <a:ext cx="7264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Oval 75"/>
            <p:cNvSpPr>
              <a:spLocks noChangeArrowheads="1"/>
            </p:cNvSpPr>
            <p:nvPr/>
          </p:nvSpPr>
          <p:spPr bwMode="auto">
            <a:xfrm>
              <a:off x="4025425" y="4214689"/>
              <a:ext cx="76680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Oval 76"/>
            <p:cNvSpPr>
              <a:spLocks noChangeArrowheads="1"/>
            </p:cNvSpPr>
            <p:nvPr/>
          </p:nvSpPr>
          <p:spPr bwMode="auto">
            <a:xfrm>
              <a:off x="11549444" y="3846089"/>
              <a:ext cx="73989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Oval 77"/>
            <p:cNvSpPr>
              <a:spLocks noChangeArrowheads="1"/>
            </p:cNvSpPr>
            <p:nvPr/>
          </p:nvSpPr>
          <p:spPr bwMode="auto">
            <a:xfrm>
              <a:off x="6738807" y="4421859"/>
              <a:ext cx="7533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Oval 78"/>
            <p:cNvSpPr>
              <a:spLocks noChangeArrowheads="1"/>
            </p:cNvSpPr>
            <p:nvPr/>
          </p:nvSpPr>
          <p:spPr bwMode="auto">
            <a:xfrm>
              <a:off x="10421719" y="4214689"/>
              <a:ext cx="76680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Oval 79"/>
            <p:cNvSpPr>
              <a:spLocks noChangeArrowheads="1"/>
            </p:cNvSpPr>
            <p:nvPr/>
          </p:nvSpPr>
          <p:spPr bwMode="auto">
            <a:xfrm>
              <a:off x="7895232" y="3739406"/>
              <a:ext cx="73989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0" name="Group 89"/>
          <p:cNvGrpSpPr/>
          <p:nvPr/>
        </p:nvGrpSpPr>
        <p:grpSpPr>
          <a:xfrm>
            <a:off x="826809" y="3299924"/>
            <a:ext cx="1384300" cy="548177"/>
            <a:chOff x="929805" y="4201624"/>
            <a:chExt cx="1384300" cy="548177"/>
          </a:xfrm>
        </p:grpSpPr>
        <p:sp>
          <p:nvSpPr>
            <p:cNvPr id="58" name="Freeform 11"/>
            <p:cNvSpPr>
              <a:spLocks/>
            </p:cNvSpPr>
            <p:nvPr/>
          </p:nvSpPr>
          <p:spPr bwMode="auto">
            <a:xfrm>
              <a:off x="929805" y="4391026"/>
              <a:ext cx="1384300" cy="358775"/>
            </a:xfrm>
            <a:custGeom>
              <a:avLst/>
              <a:gdLst>
                <a:gd name="T0" fmla="*/ 872 w 872"/>
                <a:gd name="T1" fmla="*/ 0 h 226"/>
                <a:gd name="T2" fmla="*/ 872 w 872"/>
                <a:gd name="T3" fmla="*/ 126 h 226"/>
                <a:gd name="T4" fmla="*/ 655 w 872"/>
                <a:gd name="T5" fmla="*/ 226 h 226"/>
                <a:gd name="T6" fmla="*/ 0 w 872"/>
                <a:gd name="T7" fmla="*/ 226 h 226"/>
                <a:gd name="T8" fmla="*/ 0 w 872"/>
                <a:gd name="T9" fmla="*/ 87 h 226"/>
                <a:gd name="T10" fmla="*/ 872 w 872"/>
                <a:gd name="T1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226">
                  <a:moveTo>
                    <a:pt x="872" y="0"/>
                  </a:moveTo>
                  <a:lnTo>
                    <a:pt x="872" y="126"/>
                  </a:lnTo>
                  <a:lnTo>
                    <a:pt x="655" y="226"/>
                  </a:lnTo>
                  <a:lnTo>
                    <a:pt x="0" y="226"/>
                  </a:lnTo>
                  <a:lnTo>
                    <a:pt x="0" y="87"/>
                  </a:lnTo>
                  <a:lnTo>
                    <a:pt x="872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B0F7F4">
                    <a:alpha val="20000"/>
                  </a:srgbClr>
                </a:gs>
                <a:gs pos="0">
                  <a:srgbClr val="B0F7F4">
                    <a:alpha val="0"/>
                  </a:srgbClr>
                </a:gs>
              </a:gsLst>
              <a:lin ang="135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0" name="Group 4"/>
            <p:cNvGrpSpPr>
              <a:grpSpLocks noChangeAspect="1"/>
            </p:cNvGrpSpPr>
            <p:nvPr/>
          </p:nvGrpSpPr>
          <p:grpSpPr bwMode="auto">
            <a:xfrm>
              <a:off x="929805" y="4201624"/>
              <a:ext cx="1384300" cy="333375"/>
              <a:chOff x="3404" y="2519"/>
              <a:chExt cx="872" cy="210"/>
            </a:xfrm>
          </p:grpSpPr>
          <p:sp>
            <p:nvSpPr>
              <p:cNvPr id="52" name="Freeform 5"/>
              <p:cNvSpPr>
                <a:spLocks/>
              </p:cNvSpPr>
              <p:nvPr/>
            </p:nvSpPr>
            <p:spPr bwMode="auto">
              <a:xfrm>
                <a:off x="3404" y="2519"/>
                <a:ext cx="655" cy="210"/>
              </a:xfrm>
              <a:custGeom>
                <a:avLst/>
                <a:gdLst>
                  <a:gd name="T0" fmla="*/ 107 w 655"/>
                  <a:gd name="T1" fmla="*/ 0 h 210"/>
                  <a:gd name="T2" fmla="*/ 107 w 655"/>
                  <a:gd name="T3" fmla="*/ 93 h 210"/>
                  <a:gd name="T4" fmla="*/ 0 w 655"/>
                  <a:gd name="T5" fmla="*/ 141 h 210"/>
                  <a:gd name="T6" fmla="*/ 0 w 655"/>
                  <a:gd name="T7" fmla="*/ 210 h 210"/>
                  <a:gd name="T8" fmla="*/ 655 w 655"/>
                  <a:gd name="T9" fmla="*/ 210 h 210"/>
                  <a:gd name="T10" fmla="*/ 655 w 655"/>
                  <a:gd name="T11" fmla="*/ 141 h 210"/>
                  <a:gd name="T12" fmla="*/ 107 w 655"/>
                  <a:gd name="T13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5" h="210">
                    <a:moveTo>
                      <a:pt x="107" y="0"/>
                    </a:moveTo>
                    <a:lnTo>
                      <a:pt x="107" y="93"/>
                    </a:lnTo>
                    <a:lnTo>
                      <a:pt x="0" y="141"/>
                    </a:lnTo>
                    <a:lnTo>
                      <a:pt x="0" y="210"/>
                    </a:lnTo>
                    <a:lnTo>
                      <a:pt x="655" y="210"/>
                    </a:lnTo>
                    <a:lnTo>
                      <a:pt x="655" y="141"/>
                    </a:lnTo>
                    <a:lnTo>
                      <a:pt x="107" y="0"/>
                    </a:lnTo>
                    <a:close/>
                  </a:path>
                </a:pathLst>
              </a:custGeom>
              <a:gradFill>
                <a:gsLst>
                  <a:gs pos="100000">
                    <a:srgbClr val="B0F7F4"/>
                  </a:gs>
                  <a:gs pos="0">
                    <a:schemeClr val="bg1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53" name="Freeform 6"/>
              <p:cNvSpPr>
                <a:spLocks/>
              </p:cNvSpPr>
              <p:nvPr/>
            </p:nvSpPr>
            <p:spPr bwMode="auto">
              <a:xfrm>
                <a:off x="3404" y="2519"/>
                <a:ext cx="872" cy="141"/>
              </a:xfrm>
              <a:custGeom>
                <a:avLst/>
                <a:gdLst>
                  <a:gd name="T0" fmla="*/ 107 w 872"/>
                  <a:gd name="T1" fmla="*/ 0 h 141"/>
                  <a:gd name="T2" fmla="*/ 724 w 872"/>
                  <a:gd name="T3" fmla="*/ 0 h 141"/>
                  <a:gd name="T4" fmla="*/ 872 w 872"/>
                  <a:gd name="T5" fmla="*/ 51 h 141"/>
                  <a:gd name="T6" fmla="*/ 655 w 872"/>
                  <a:gd name="T7" fmla="*/ 141 h 141"/>
                  <a:gd name="T8" fmla="*/ 0 w 872"/>
                  <a:gd name="T9" fmla="*/ 141 h 141"/>
                  <a:gd name="T10" fmla="*/ 164 w 872"/>
                  <a:gd name="T11" fmla="*/ 51 h 141"/>
                  <a:gd name="T12" fmla="*/ 107 w 872"/>
                  <a:gd name="T13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2" h="141">
                    <a:moveTo>
                      <a:pt x="107" y="0"/>
                    </a:moveTo>
                    <a:lnTo>
                      <a:pt x="724" y="0"/>
                    </a:lnTo>
                    <a:lnTo>
                      <a:pt x="872" y="51"/>
                    </a:lnTo>
                    <a:lnTo>
                      <a:pt x="655" y="141"/>
                    </a:lnTo>
                    <a:lnTo>
                      <a:pt x="0" y="141"/>
                    </a:lnTo>
                    <a:lnTo>
                      <a:pt x="164" y="51"/>
                    </a:lnTo>
                    <a:lnTo>
                      <a:pt x="107" y="0"/>
                    </a:lnTo>
                    <a:close/>
                  </a:path>
                </a:pathLst>
              </a:custGeom>
              <a:gradFill>
                <a:gsLst>
                  <a:gs pos="100000">
                    <a:srgbClr val="125680"/>
                  </a:gs>
                  <a:gs pos="0">
                    <a:srgbClr val="12395E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54" name="Freeform 7"/>
              <p:cNvSpPr>
                <a:spLocks/>
              </p:cNvSpPr>
              <p:nvPr/>
            </p:nvSpPr>
            <p:spPr bwMode="auto">
              <a:xfrm>
                <a:off x="4059" y="2570"/>
                <a:ext cx="217" cy="159"/>
              </a:xfrm>
              <a:custGeom>
                <a:avLst/>
                <a:gdLst>
                  <a:gd name="T0" fmla="*/ 217 w 217"/>
                  <a:gd name="T1" fmla="*/ 0 h 159"/>
                  <a:gd name="T2" fmla="*/ 217 w 217"/>
                  <a:gd name="T3" fmla="*/ 71 h 159"/>
                  <a:gd name="T4" fmla="*/ 0 w 217"/>
                  <a:gd name="T5" fmla="*/ 159 h 159"/>
                  <a:gd name="T6" fmla="*/ 0 w 217"/>
                  <a:gd name="T7" fmla="*/ 90 h 159"/>
                  <a:gd name="T8" fmla="*/ 217 w 217"/>
                  <a:gd name="T9" fmla="*/ 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7" h="159">
                    <a:moveTo>
                      <a:pt x="217" y="0"/>
                    </a:moveTo>
                    <a:lnTo>
                      <a:pt x="217" y="71"/>
                    </a:lnTo>
                    <a:lnTo>
                      <a:pt x="0" y="159"/>
                    </a:lnTo>
                    <a:lnTo>
                      <a:pt x="0" y="90"/>
                    </a:lnTo>
                    <a:lnTo>
                      <a:pt x="217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B0F7F4"/>
                  </a:gs>
                  <a:gs pos="0">
                    <a:schemeClr val="bg1"/>
                  </a:gs>
                </a:gsLst>
                <a:lin ang="189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</p:grpSp>
      </p:grpSp>
      <p:sp>
        <p:nvSpPr>
          <p:cNvPr id="39" name="TextBox 38"/>
          <p:cNvSpPr txBox="1"/>
          <p:nvPr/>
        </p:nvSpPr>
        <p:spPr>
          <a:xfrm>
            <a:off x="826809" y="589490"/>
            <a:ext cx="3490699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4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Struktur Folder</a:t>
            </a:r>
            <a:endParaRPr lang="en-US" sz="40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91" name="Group 90"/>
          <p:cNvGrpSpPr/>
          <p:nvPr/>
        </p:nvGrpSpPr>
        <p:grpSpPr>
          <a:xfrm>
            <a:off x="3064292" y="3299924"/>
            <a:ext cx="1384300" cy="548177"/>
            <a:chOff x="929805" y="4201624"/>
            <a:chExt cx="1384300" cy="548177"/>
          </a:xfrm>
        </p:grpSpPr>
        <p:sp>
          <p:nvSpPr>
            <p:cNvPr id="92" name="Freeform 11"/>
            <p:cNvSpPr>
              <a:spLocks/>
            </p:cNvSpPr>
            <p:nvPr/>
          </p:nvSpPr>
          <p:spPr bwMode="auto">
            <a:xfrm>
              <a:off x="929805" y="4391026"/>
              <a:ext cx="1384300" cy="358775"/>
            </a:xfrm>
            <a:custGeom>
              <a:avLst/>
              <a:gdLst>
                <a:gd name="T0" fmla="*/ 872 w 872"/>
                <a:gd name="T1" fmla="*/ 0 h 226"/>
                <a:gd name="T2" fmla="*/ 872 w 872"/>
                <a:gd name="T3" fmla="*/ 126 h 226"/>
                <a:gd name="T4" fmla="*/ 655 w 872"/>
                <a:gd name="T5" fmla="*/ 226 h 226"/>
                <a:gd name="T6" fmla="*/ 0 w 872"/>
                <a:gd name="T7" fmla="*/ 226 h 226"/>
                <a:gd name="T8" fmla="*/ 0 w 872"/>
                <a:gd name="T9" fmla="*/ 87 h 226"/>
                <a:gd name="T10" fmla="*/ 872 w 872"/>
                <a:gd name="T1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226">
                  <a:moveTo>
                    <a:pt x="872" y="0"/>
                  </a:moveTo>
                  <a:lnTo>
                    <a:pt x="872" y="126"/>
                  </a:lnTo>
                  <a:lnTo>
                    <a:pt x="655" y="226"/>
                  </a:lnTo>
                  <a:lnTo>
                    <a:pt x="0" y="226"/>
                  </a:lnTo>
                  <a:lnTo>
                    <a:pt x="0" y="87"/>
                  </a:lnTo>
                  <a:lnTo>
                    <a:pt x="872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B0F7F4">
                    <a:alpha val="20000"/>
                  </a:srgbClr>
                </a:gs>
                <a:gs pos="0">
                  <a:srgbClr val="B0F7F4">
                    <a:alpha val="0"/>
                  </a:srgbClr>
                </a:gs>
              </a:gsLst>
              <a:lin ang="135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93" name="Group 4"/>
            <p:cNvGrpSpPr>
              <a:grpSpLocks noChangeAspect="1"/>
            </p:cNvGrpSpPr>
            <p:nvPr/>
          </p:nvGrpSpPr>
          <p:grpSpPr bwMode="auto">
            <a:xfrm>
              <a:off x="929805" y="4201624"/>
              <a:ext cx="1384300" cy="333375"/>
              <a:chOff x="3404" y="2519"/>
              <a:chExt cx="872" cy="210"/>
            </a:xfrm>
          </p:grpSpPr>
          <p:sp>
            <p:nvSpPr>
              <p:cNvPr id="94" name="Freeform 5"/>
              <p:cNvSpPr>
                <a:spLocks/>
              </p:cNvSpPr>
              <p:nvPr/>
            </p:nvSpPr>
            <p:spPr bwMode="auto">
              <a:xfrm>
                <a:off x="3404" y="2519"/>
                <a:ext cx="655" cy="210"/>
              </a:xfrm>
              <a:custGeom>
                <a:avLst/>
                <a:gdLst>
                  <a:gd name="T0" fmla="*/ 107 w 655"/>
                  <a:gd name="T1" fmla="*/ 0 h 210"/>
                  <a:gd name="T2" fmla="*/ 107 w 655"/>
                  <a:gd name="T3" fmla="*/ 93 h 210"/>
                  <a:gd name="T4" fmla="*/ 0 w 655"/>
                  <a:gd name="T5" fmla="*/ 141 h 210"/>
                  <a:gd name="T6" fmla="*/ 0 w 655"/>
                  <a:gd name="T7" fmla="*/ 210 h 210"/>
                  <a:gd name="T8" fmla="*/ 655 w 655"/>
                  <a:gd name="T9" fmla="*/ 210 h 210"/>
                  <a:gd name="T10" fmla="*/ 655 w 655"/>
                  <a:gd name="T11" fmla="*/ 141 h 210"/>
                  <a:gd name="T12" fmla="*/ 107 w 655"/>
                  <a:gd name="T13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5" h="210">
                    <a:moveTo>
                      <a:pt x="107" y="0"/>
                    </a:moveTo>
                    <a:lnTo>
                      <a:pt x="107" y="93"/>
                    </a:lnTo>
                    <a:lnTo>
                      <a:pt x="0" y="141"/>
                    </a:lnTo>
                    <a:lnTo>
                      <a:pt x="0" y="210"/>
                    </a:lnTo>
                    <a:lnTo>
                      <a:pt x="655" y="210"/>
                    </a:lnTo>
                    <a:lnTo>
                      <a:pt x="655" y="141"/>
                    </a:lnTo>
                    <a:lnTo>
                      <a:pt x="107" y="0"/>
                    </a:lnTo>
                    <a:close/>
                  </a:path>
                </a:pathLst>
              </a:custGeom>
              <a:gradFill>
                <a:gsLst>
                  <a:gs pos="100000">
                    <a:srgbClr val="B0F7F4"/>
                  </a:gs>
                  <a:gs pos="0">
                    <a:schemeClr val="bg1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95" name="Freeform 6"/>
              <p:cNvSpPr>
                <a:spLocks/>
              </p:cNvSpPr>
              <p:nvPr/>
            </p:nvSpPr>
            <p:spPr bwMode="auto">
              <a:xfrm>
                <a:off x="3404" y="2519"/>
                <a:ext cx="872" cy="141"/>
              </a:xfrm>
              <a:custGeom>
                <a:avLst/>
                <a:gdLst>
                  <a:gd name="T0" fmla="*/ 107 w 872"/>
                  <a:gd name="T1" fmla="*/ 0 h 141"/>
                  <a:gd name="T2" fmla="*/ 724 w 872"/>
                  <a:gd name="T3" fmla="*/ 0 h 141"/>
                  <a:gd name="T4" fmla="*/ 872 w 872"/>
                  <a:gd name="T5" fmla="*/ 51 h 141"/>
                  <a:gd name="T6" fmla="*/ 655 w 872"/>
                  <a:gd name="T7" fmla="*/ 141 h 141"/>
                  <a:gd name="T8" fmla="*/ 0 w 872"/>
                  <a:gd name="T9" fmla="*/ 141 h 141"/>
                  <a:gd name="T10" fmla="*/ 164 w 872"/>
                  <a:gd name="T11" fmla="*/ 51 h 141"/>
                  <a:gd name="T12" fmla="*/ 107 w 872"/>
                  <a:gd name="T13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2" h="141">
                    <a:moveTo>
                      <a:pt x="107" y="0"/>
                    </a:moveTo>
                    <a:lnTo>
                      <a:pt x="724" y="0"/>
                    </a:lnTo>
                    <a:lnTo>
                      <a:pt x="872" y="51"/>
                    </a:lnTo>
                    <a:lnTo>
                      <a:pt x="655" y="141"/>
                    </a:lnTo>
                    <a:lnTo>
                      <a:pt x="0" y="141"/>
                    </a:lnTo>
                    <a:lnTo>
                      <a:pt x="164" y="51"/>
                    </a:lnTo>
                    <a:lnTo>
                      <a:pt x="107" y="0"/>
                    </a:lnTo>
                    <a:close/>
                  </a:path>
                </a:pathLst>
              </a:custGeom>
              <a:gradFill>
                <a:gsLst>
                  <a:gs pos="100000">
                    <a:srgbClr val="125680"/>
                  </a:gs>
                  <a:gs pos="0">
                    <a:srgbClr val="12395E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96" name="Freeform 7"/>
              <p:cNvSpPr>
                <a:spLocks/>
              </p:cNvSpPr>
              <p:nvPr/>
            </p:nvSpPr>
            <p:spPr bwMode="auto">
              <a:xfrm>
                <a:off x="4059" y="2570"/>
                <a:ext cx="217" cy="159"/>
              </a:xfrm>
              <a:custGeom>
                <a:avLst/>
                <a:gdLst>
                  <a:gd name="T0" fmla="*/ 217 w 217"/>
                  <a:gd name="T1" fmla="*/ 0 h 159"/>
                  <a:gd name="T2" fmla="*/ 217 w 217"/>
                  <a:gd name="T3" fmla="*/ 71 h 159"/>
                  <a:gd name="T4" fmla="*/ 0 w 217"/>
                  <a:gd name="T5" fmla="*/ 159 h 159"/>
                  <a:gd name="T6" fmla="*/ 0 w 217"/>
                  <a:gd name="T7" fmla="*/ 90 h 159"/>
                  <a:gd name="T8" fmla="*/ 217 w 217"/>
                  <a:gd name="T9" fmla="*/ 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7" h="159">
                    <a:moveTo>
                      <a:pt x="217" y="0"/>
                    </a:moveTo>
                    <a:lnTo>
                      <a:pt x="217" y="71"/>
                    </a:lnTo>
                    <a:lnTo>
                      <a:pt x="0" y="159"/>
                    </a:lnTo>
                    <a:lnTo>
                      <a:pt x="0" y="90"/>
                    </a:lnTo>
                    <a:lnTo>
                      <a:pt x="217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B0F7F4"/>
                  </a:gs>
                  <a:gs pos="0">
                    <a:schemeClr val="bg1"/>
                  </a:gs>
                </a:gsLst>
                <a:lin ang="189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</p:grpSp>
      </p:grpSp>
      <p:grpSp>
        <p:nvGrpSpPr>
          <p:cNvPr id="97" name="Group 96"/>
          <p:cNvGrpSpPr/>
          <p:nvPr/>
        </p:nvGrpSpPr>
        <p:grpSpPr>
          <a:xfrm>
            <a:off x="5301775" y="3299924"/>
            <a:ext cx="1384300" cy="548177"/>
            <a:chOff x="929805" y="4201624"/>
            <a:chExt cx="1384300" cy="548177"/>
          </a:xfrm>
        </p:grpSpPr>
        <p:sp>
          <p:nvSpPr>
            <p:cNvPr id="98" name="Freeform 11"/>
            <p:cNvSpPr>
              <a:spLocks/>
            </p:cNvSpPr>
            <p:nvPr/>
          </p:nvSpPr>
          <p:spPr bwMode="auto">
            <a:xfrm>
              <a:off x="929805" y="4391026"/>
              <a:ext cx="1384300" cy="358775"/>
            </a:xfrm>
            <a:custGeom>
              <a:avLst/>
              <a:gdLst>
                <a:gd name="T0" fmla="*/ 872 w 872"/>
                <a:gd name="T1" fmla="*/ 0 h 226"/>
                <a:gd name="T2" fmla="*/ 872 w 872"/>
                <a:gd name="T3" fmla="*/ 126 h 226"/>
                <a:gd name="T4" fmla="*/ 655 w 872"/>
                <a:gd name="T5" fmla="*/ 226 h 226"/>
                <a:gd name="T6" fmla="*/ 0 w 872"/>
                <a:gd name="T7" fmla="*/ 226 h 226"/>
                <a:gd name="T8" fmla="*/ 0 w 872"/>
                <a:gd name="T9" fmla="*/ 87 h 226"/>
                <a:gd name="T10" fmla="*/ 872 w 872"/>
                <a:gd name="T1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226">
                  <a:moveTo>
                    <a:pt x="872" y="0"/>
                  </a:moveTo>
                  <a:lnTo>
                    <a:pt x="872" y="126"/>
                  </a:lnTo>
                  <a:lnTo>
                    <a:pt x="655" y="226"/>
                  </a:lnTo>
                  <a:lnTo>
                    <a:pt x="0" y="226"/>
                  </a:lnTo>
                  <a:lnTo>
                    <a:pt x="0" y="87"/>
                  </a:lnTo>
                  <a:lnTo>
                    <a:pt x="872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B0F7F4">
                    <a:alpha val="20000"/>
                  </a:srgbClr>
                </a:gs>
                <a:gs pos="0">
                  <a:srgbClr val="B0F7F4">
                    <a:alpha val="0"/>
                  </a:srgbClr>
                </a:gs>
              </a:gsLst>
              <a:lin ang="135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99" name="Group 4"/>
            <p:cNvGrpSpPr>
              <a:grpSpLocks noChangeAspect="1"/>
            </p:cNvGrpSpPr>
            <p:nvPr/>
          </p:nvGrpSpPr>
          <p:grpSpPr bwMode="auto">
            <a:xfrm>
              <a:off x="929805" y="4201624"/>
              <a:ext cx="1384300" cy="333375"/>
              <a:chOff x="3404" y="2519"/>
              <a:chExt cx="872" cy="210"/>
            </a:xfrm>
          </p:grpSpPr>
          <p:sp>
            <p:nvSpPr>
              <p:cNvPr id="100" name="Freeform 5"/>
              <p:cNvSpPr>
                <a:spLocks/>
              </p:cNvSpPr>
              <p:nvPr/>
            </p:nvSpPr>
            <p:spPr bwMode="auto">
              <a:xfrm>
                <a:off x="3404" y="2519"/>
                <a:ext cx="655" cy="210"/>
              </a:xfrm>
              <a:custGeom>
                <a:avLst/>
                <a:gdLst>
                  <a:gd name="T0" fmla="*/ 107 w 655"/>
                  <a:gd name="T1" fmla="*/ 0 h 210"/>
                  <a:gd name="T2" fmla="*/ 107 w 655"/>
                  <a:gd name="T3" fmla="*/ 93 h 210"/>
                  <a:gd name="T4" fmla="*/ 0 w 655"/>
                  <a:gd name="T5" fmla="*/ 141 h 210"/>
                  <a:gd name="T6" fmla="*/ 0 w 655"/>
                  <a:gd name="T7" fmla="*/ 210 h 210"/>
                  <a:gd name="T8" fmla="*/ 655 w 655"/>
                  <a:gd name="T9" fmla="*/ 210 h 210"/>
                  <a:gd name="T10" fmla="*/ 655 w 655"/>
                  <a:gd name="T11" fmla="*/ 141 h 210"/>
                  <a:gd name="T12" fmla="*/ 107 w 655"/>
                  <a:gd name="T13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5" h="210">
                    <a:moveTo>
                      <a:pt x="107" y="0"/>
                    </a:moveTo>
                    <a:lnTo>
                      <a:pt x="107" y="93"/>
                    </a:lnTo>
                    <a:lnTo>
                      <a:pt x="0" y="141"/>
                    </a:lnTo>
                    <a:lnTo>
                      <a:pt x="0" y="210"/>
                    </a:lnTo>
                    <a:lnTo>
                      <a:pt x="655" y="210"/>
                    </a:lnTo>
                    <a:lnTo>
                      <a:pt x="655" y="141"/>
                    </a:lnTo>
                    <a:lnTo>
                      <a:pt x="107" y="0"/>
                    </a:lnTo>
                    <a:close/>
                  </a:path>
                </a:pathLst>
              </a:custGeom>
              <a:gradFill>
                <a:gsLst>
                  <a:gs pos="100000">
                    <a:srgbClr val="B0F7F4"/>
                  </a:gs>
                  <a:gs pos="0">
                    <a:schemeClr val="bg1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101" name="Freeform 6"/>
              <p:cNvSpPr>
                <a:spLocks/>
              </p:cNvSpPr>
              <p:nvPr/>
            </p:nvSpPr>
            <p:spPr bwMode="auto">
              <a:xfrm>
                <a:off x="3404" y="2519"/>
                <a:ext cx="872" cy="141"/>
              </a:xfrm>
              <a:custGeom>
                <a:avLst/>
                <a:gdLst>
                  <a:gd name="T0" fmla="*/ 107 w 872"/>
                  <a:gd name="T1" fmla="*/ 0 h 141"/>
                  <a:gd name="T2" fmla="*/ 724 w 872"/>
                  <a:gd name="T3" fmla="*/ 0 h 141"/>
                  <a:gd name="T4" fmla="*/ 872 w 872"/>
                  <a:gd name="T5" fmla="*/ 51 h 141"/>
                  <a:gd name="T6" fmla="*/ 655 w 872"/>
                  <a:gd name="T7" fmla="*/ 141 h 141"/>
                  <a:gd name="T8" fmla="*/ 0 w 872"/>
                  <a:gd name="T9" fmla="*/ 141 h 141"/>
                  <a:gd name="T10" fmla="*/ 164 w 872"/>
                  <a:gd name="T11" fmla="*/ 51 h 141"/>
                  <a:gd name="T12" fmla="*/ 107 w 872"/>
                  <a:gd name="T13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2" h="141">
                    <a:moveTo>
                      <a:pt x="107" y="0"/>
                    </a:moveTo>
                    <a:lnTo>
                      <a:pt x="724" y="0"/>
                    </a:lnTo>
                    <a:lnTo>
                      <a:pt x="872" y="51"/>
                    </a:lnTo>
                    <a:lnTo>
                      <a:pt x="655" y="141"/>
                    </a:lnTo>
                    <a:lnTo>
                      <a:pt x="0" y="141"/>
                    </a:lnTo>
                    <a:lnTo>
                      <a:pt x="164" y="51"/>
                    </a:lnTo>
                    <a:lnTo>
                      <a:pt x="107" y="0"/>
                    </a:lnTo>
                    <a:close/>
                  </a:path>
                </a:pathLst>
              </a:custGeom>
              <a:gradFill>
                <a:gsLst>
                  <a:gs pos="100000">
                    <a:srgbClr val="125680"/>
                  </a:gs>
                  <a:gs pos="0">
                    <a:srgbClr val="12395E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102" name="Freeform 7"/>
              <p:cNvSpPr>
                <a:spLocks/>
              </p:cNvSpPr>
              <p:nvPr/>
            </p:nvSpPr>
            <p:spPr bwMode="auto">
              <a:xfrm>
                <a:off x="4059" y="2570"/>
                <a:ext cx="217" cy="159"/>
              </a:xfrm>
              <a:custGeom>
                <a:avLst/>
                <a:gdLst>
                  <a:gd name="T0" fmla="*/ 217 w 217"/>
                  <a:gd name="T1" fmla="*/ 0 h 159"/>
                  <a:gd name="T2" fmla="*/ 217 w 217"/>
                  <a:gd name="T3" fmla="*/ 71 h 159"/>
                  <a:gd name="T4" fmla="*/ 0 w 217"/>
                  <a:gd name="T5" fmla="*/ 159 h 159"/>
                  <a:gd name="T6" fmla="*/ 0 w 217"/>
                  <a:gd name="T7" fmla="*/ 90 h 159"/>
                  <a:gd name="T8" fmla="*/ 217 w 217"/>
                  <a:gd name="T9" fmla="*/ 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7" h="159">
                    <a:moveTo>
                      <a:pt x="217" y="0"/>
                    </a:moveTo>
                    <a:lnTo>
                      <a:pt x="217" y="71"/>
                    </a:lnTo>
                    <a:lnTo>
                      <a:pt x="0" y="159"/>
                    </a:lnTo>
                    <a:lnTo>
                      <a:pt x="0" y="90"/>
                    </a:lnTo>
                    <a:lnTo>
                      <a:pt x="217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B0F7F4"/>
                  </a:gs>
                  <a:gs pos="0">
                    <a:schemeClr val="bg1"/>
                  </a:gs>
                </a:gsLst>
                <a:lin ang="189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</p:grpSp>
      </p:grpSp>
      <p:grpSp>
        <p:nvGrpSpPr>
          <p:cNvPr id="103" name="Group 102"/>
          <p:cNvGrpSpPr/>
          <p:nvPr/>
        </p:nvGrpSpPr>
        <p:grpSpPr>
          <a:xfrm>
            <a:off x="7539258" y="3299924"/>
            <a:ext cx="1384300" cy="548177"/>
            <a:chOff x="929805" y="4201624"/>
            <a:chExt cx="1384300" cy="548177"/>
          </a:xfrm>
        </p:grpSpPr>
        <p:sp>
          <p:nvSpPr>
            <p:cNvPr id="104" name="Freeform 11"/>
            <p:cNvSpPr>
              <a:spLocks/>
            </p:cNvSpPr>
            <p:nvPr/>
          </p:nvSpPr>
          <p:spPr bwMode="auto">
            <a:xfrm>
              <a:off x="929805" y="4391026"/>
              <a:ext cx="1384300" cy="358775"/>
            </a:xfrm>
            <a:custGeom>
              <a:avLst/>
              <a:gdLst>
                <a:gd name="T0" fmla="*/ 872 w 872"/>
                <a:gd name="T1" fmla="*/ 0 h 226"/>
                <a:gd name="T2" fmla="*/ 872 w 872"/>
                <a:gd name="T3" fmla="*/ 126 h 226"/>
                <a:gd name="T4" fmla="*/ 655 w 872"/>
                <a:gd name="T5" fmla="*/ 226 h 226"/>
                <a:gd name="T6" fmla="*/ 0 w 872"/>
                <a:gd name="T7" fmla="*/ 226 h 226"/>
                <a:gd name="T8" fmla="*/ 0 w 872"/>
                <a:gd name="T9" fmla="*/ 87 h 226"/>
                <a:gd name="T10" fmla="*/ 872 w 872"/>
                <a:gd name="T1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226">
                  <a:moveTo>
                    <a:pt x="872" y="0"/>
                  </a:moveTo>
                  <a:lnTo>
                    <a:pt x="872" y="126"/>
                  </a:lnTo>
                  <a:lnTo>
                    <a:pt x="655" y="226"/>
                  </a:lnTo>
                  <a:lnTo>
                    <a:pt x="0" y="226"/>
                  </a:lnTo>
                  <a:lnTo>
                    <a:pt x="0" y="87"/>
                  </a:lnTo>
                  <a:lnTo>
                    <a:pt x="872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B0F7F4">
                    <a:alpha val="20000"/>
                  </a:srgbClr>
                </a:gs>
                <a:gs pos="0">
                  <a:srgbClr val="B0F7F4">
                    <a:alpha val="0"/>
                  </a:srgbClr>
                </a:gs>
              </a:gsLst>
              <a:lin ang="135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05" name="Group 4"/>
            <p:cNvGrpSpPr>
              <a:grpSpLocks noChangeAspect="1"/>
            </p:cNvGrpSpPr>
            <p:nvPr/>
          </p:nvGrpSpPr>
          <p:grpSpPr bwMode="auto">
            <a:xfrm>
              <a:off x="929805" y="4201624"/>
              <a:ext cx="1384300" cy="333375"/>
              <a:chOff x="3404" y="2519"/>
              <a:chExt cx="872" cy="210"/>
            </a:xfrm>
          </p:grpSpPr>
          <p:sp>
            <p:nvSpPr>
              <p:cNvPr id="106" name="Freeform 5"/>
              <p:cNvSpPr>
                <a:spLocks/>
              </p:cNvSpPr>
              <p:nvPr/>
            </p:nvSpPr>
            <p:spPr bwMode="auto">
              <a:xfrm>
                <a:off x="3404" y="2519"/>
                <a:ext cx="655" cy="210"/>
              </a:xfrm>
              <a:custGeom>
                <a:avLst/>
                <a:gdLst>
                  <a:gd name="T0" fmla="*/ 107 w 655"/>
                  <a:gd name="T1" fmla="*/ 0 h 210"/>
                  <a:gd name="T2" fmla="*/ 107 w 655"/>
                  <a:gd name="T3" fmla="*/ 93 h 210"/>
                  <a:gd name="T4" fmla="*/ 0 w 655"/>
                  <a:gd name="T5" fmla="*/ 141 h 210"/>
                  <a:gd name="T6" fmla="*/ 0 w 655"/>
                  <a:gd name="T7" fmla="*/ 210 h 210"/>
                  <a:gd name="T8" fmla="*/ 655 w 655"/>
                  <a:gd name="T9" fmla="*/ 210 h 210"/>
                  <a:gd name="T10" fmla="*/ 655 w 655"/>
                  <a:gd name="T11" fmla="*/ 141 h 210"/>
                  <a:gd name="T12" fmla="*/ 107 w 655"/>
                  <a:gd name="T13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5" h="210">
                    <a:moveTo>
                      <a:pt x="107" y="0"/>
                    </a:moveTo>
                    <a:lnTo>
                      <a:pt x="107" y="93"/>
                    </a:lnTo>
                    <a:lnTo>
                      <a:pt x="0" y="141"/>
                    </a:lnTo>
                    <a:lnTo>
                      <a:pt x="0" y="210"/>
                    </a:lnTo>
                    <a:lnTo>
                      <a:pt x="655" y="210"/>
                    </a:lnTo>
                    <a:lnTo>
                      <a:pt x="655" y="141"/>
                    </a:lnTo>
                    <a:lnTo>
                      <a:pt x="107" y="0"/>
                    </a:lnTo>
                    <a:close/>
                  </a:path>
                </a:pathLst>
              </a:custGeom>
              <a:gradFill>
                <a:gsLst>
                  <a:gs pos="100000">
                    <a:srgbClr val="B0F7F4"/>
                  </a:gs>
                  <a:gs pos="0">
                    <a:schemeClr val="bg1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107" name="Freeform 6"/>
              <p:cNvSpPr>
                <a:spLocks/>
              </p:cNvSpPr>
              <p:nvPr/>
            </p:nvSpPr>
            <p:spPr bwMode="auto">
              <a:xfrm>
                <a:off x="3404" y="2519"/>
                <a:ext cx="872" cy="141"/>
              </a:xfrm>
              <a:custGeom>
                <a:avLst/>
                <a:gdLst>
                  <a:gd name="T0" fmla="*/ 107 w 872"/>
                  <a:gd name="T1" fmla="*/ 0 h 141"/>
                  <a:gd name="T2" fmla="*/ 724 w 872"/>
                  <a:gd name="T3" fmla="*/ 0 h 141"/>
                  <a:gd name="T4" fmla="*/ 872 w 872"/>
                  <a:gd name="T5" fmla="*/ 51 h 141"/>
                  <a:gd name="T6" fmla="*/ 655 w 872"/>
                  <a:gd name="T7" fmla="*/ 141 h 141"/>
                  <a:gd name="T8" fmla="*/ 0 w 872"/>
                  <a:gd name="T9" fmla="*/ 141 h 141"/>
                  <a:gd name="T10" fmla="*/ 164 w 872"/>
                  <a:gd name="T11" fmla="*/ 51 h 141"/>
                  <a:gd name="T12" fmla="*/ 107 w 872"/>
                  <a:gd name="T13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2" h="141">
                    <a:moveTo>
                      <a:pt x="107" y="0"/>
                    </a:moveTo>
                    <a:lnTo>
                      <a:pt x="724" y="0"/>
                    </a:lnTo>
                    <a:lnTo>
                      <a:pt x="872" y="51"/>
                    </a:lnTo>
                    <a:lnTo>
                      <a:pt x="655" y="141"/>
                    </a:lnTo>
                    <a:lnTo>
                      <a:pt x="0" y="141"/>
                    </a:lnTo>
                    <a:lnTo>
                      <a:pt x="164" y="51"/>
                    </a:lnTo>
                    <a:lnTo>
                      <a:pt x="107" y="0"/>
                    </a:lnTo>
                    <a:close/>
                  </a:path>
                </a:pathLst>
              </a:custGeom>
              <a:gradFill>
                <a:gsLst>
                  <a:gs pos="100000">
                    <a:srgbClr val="125680"/>
                  </a:gs>
                  <a:gs pos="0">
                    <a:srgbClr val="12395E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108" name="Freeform 7"/>
              <p:cNvSpPr>
                <a:spLocks/>
              </p:cNvSpPr>
              <p:nvPr/>
            </p:nvSpPr>
            <p:spPr bwMode="auto">
              <a:xfrm>
                <a:off x="4059" y="2570"/>
                <a:ext cx="217" cy="159"/>
              </a:xfrm>
              <a:custGeom>
                <a:avLst/>
                <a:gdLst>
                  <a:gd name="T0" fmla="*/ 217 w 217"/>
                  <a:gd name="T1" fmla="*/ 0 h 159"/>
                  <a:gd name="T2" fmla="*/ 217 w 217"/>
                  <a:gd name="T3" fmla="*/ 71 h 159"/>
                  <a:gd name="T4" fmla="*/ 0 w 217"/>
                  <a:gd name="T5" fmla="*/ 159 h 159"/>
                  <a:gd name="T6" fmla="*/ 0 w 217"/>
                  <a:gd name="T7" fmla="*/ 90 h 159"/>
                  <a:gd name="T8" fmla="*/ 217 w 217"/>
                  <a:gd name="T9" fmla="*/ 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7" h="159">
                    <a:moveTo>
                      <a:pt x="217" y="0"/>
                    </a:moveTo>
                    <a:lnTo>
                      <a:pt x="217" y="71"/>
                    </a:lnTo>
                    <a:lnTo>
                      <a:pt x="0" y="159"/>
                    </a:lnTo>
                    <a:lnTo>
                      <a:pt x="0" y="90"/>
                    </a:lnTo>
                    <a:lnTo>
                      <a:pt x="217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B0F7F4"/>
                  </a:gs>
                  <a:gs pos="0">
                    <a:schemeClr val="bg1"/>
                  </a:gs>
                </a:gsLst>
                <a:lin ang="189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</p:grpSp>
      </p:grpSp>
      <p:grpSp>
        <p:nvGrpSpPr>
          <p:cNvPr id="126" name="Group 125"/>
          <p:cNvGrpSpPr/>
          <p:nvPr/>
        </p:nvGrpSpPr>
        <p:grpSpPr>
          <a:xfrm>
            <a:off x="1119850" y="2200438"/>
            <a:ext cx="798223" cy="798223"/>
            <a:chOff x="1119850" y="3102138"/>
            <a:chExt cx="798223" cy="798223"/>
          </a:xfrm>
        </p:grpSpPr>
        <p:sp>
          <p:nvSpPr>
            <p:cNvPr id="117" name="Rectangle 116"/>
            <p:cNvSpPr/>
            <p:nvPr/>
          </p:nvSpPr>
          <p:spPr>
            <a:xfrm rot="2700000">
              <a:off x="1119850" y="3102138"/>
              <a:ext cx="798223" cy="798223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 rot="2700000">
              <a:off x="1211935" y="3194225"/>
              <a:ext cx="614052" cy="614052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/>
          <p:cNvGrpSpPr/>
          <p:nvPr/>
        </p:nvGrpSpPr>
        <p:grpSpPr>
          <a:xfrm>
            <a:off x="3357333" y="2200438"/>
            <a:ext cx="798223" cy="798223"/>
            <a:chOff x="1119850" y="3102138"/>
            <a:chExt cx="798223" cy="798223"/>
          </a:xfrm>
        </p:grpSpPr>
        <p:sp>
          <p:nvSpPr>
            <p:cNvPr id="128" name="Rectangle 127"/>
            <p:cNvSpPr/>
            <p:nvPr/>
          </p:nvSpPr>
          <p:spPr>
            <a:xfrm rot="2700000">
              <a:off x="1119850" y="3102138"/>
              <a:ext cx="798223" cy="798223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 rot="2700000">
              <a:off x="1211935" y="3194225"/>
              <a:ext cx="614052" cy="614052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30" name="Group 129"/>
          <p:cNvGrpSpPr/>
          <p:nvPr/>
        </p:nvGrpSpPr>
        <p:grpSpPr>
          <a:xfrm>
            <a:off x="5594816" y="2200438"/>
            <a:ext cx="798223" cy="798223"/>
            <a:chOff x="1119850" y="3102138"/>
            <a:chExt cx="798223" cy="798223"/>
          </a:xfrm>
        </p:grpSpPr>
        <p:sp>
          <p:nvSpPr>
            <p:cNvPr id="131" name="Rectangle 130"/>
            <p:cNvSpPr/>
            <p:nvPr/>
          </p:nvSpPr>
          <p:spPr>
            <a:xfrm rot="2700000">
              <a:off x="1119850" y="3102138"/>
              <a:ext cx="798223" cy="798223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2" name="Rectangle 131"/>
            <p:cNvSpPr/>
            <p:nvPr/>
          </p:nvSpPr>
          <p:spPr>
            <a:xfrm rot="2700000">
              <a:off x="1211935" y="3194225"/>
              <a:ext cx="614052" cy="614052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33" name="Group 132"/>
          <p:cNvGrpSpPr/>
          <p:nvPr/>
        </p:nvGrpSpPr>
        <p:grpSpPr>
          <a:xfrm>
            <a:off x="7832299" y="2200438"/>
            <a:ext cx="798223" cy="798223"/>
            <a:chOff x="1119850" y="3102138"/>
            <a:chExt cx="798223" cy="798223"/>
          </a:xfrm>
        </p:grpSpPr>
        <p:sp>
          <p:nvSpPr>
            <p:cNvPr id="134" name="Rectangle 133"/>
            <p:cNvSpPr/>
            <p:nvPr/>
          </p:nvSpPr>
          <p:spPr>
            <a:xfrm rot="2700000">
              <a:off x="1119850" y="3102138"/>
              <a:ext cx="798223" cy="798223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5" name="Rectangle 134"/>
            <p:cNvSpPr/>
            <p:nvPr/>
          </p:nvSpPr>
          <p:spPr>
            <a:xfrm rot="2700000">
              <a:off x="1211935" y="3194225"/>
              <a:ext cx="614052" cy="614052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36" name="Group 135"/>
          <p:cNvGrpSpPr/>
          <p:nvPr/>
        </p:nvGrpSpPr>
        <p:grpSpPr>
          <a:xfrm>
            <a:off x="10069780" y="2205769"/>
            <a:ext cx="798223" cy="798223"/>
            <a:chOff x="1119850" y="3102138"/>
            <a:chExt cx="798223" cy="798223"/>
          </a:xfrm>
        </p:grpSpPr>
        <p:sp>
          <p:nvSpPr>
            <p:cNvPr id="137" name="Rectangle 136"/>
            <p:cNvSpPr/>
            <p:nvPr/>
          </p:nvSpPr>
          <p:spPr>
            <a:xfrm rot="2700000">
              <a:off x="1119850" y="3102138"/>
              <a:ext cx="798223" cy="798223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8" name="Rectangle 137"/>
            <p:cNvSpPr/>
            <p:nvPr/>
          </p:nvSpPr>
          <p:spPr>
            <a:xfrm rot="2700000">
              <a:off x="1211935" y="3194225"/>
              <a:ext cx="614052" cy="614052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39" name="Group 138"/>
          <p:cNvGrpSpPr/>
          <p:nvPr/>
        </p:nvGrpSpPr>
        <p:grpSpPr>
          <a:xfrm>
            <a:off x="8088535" y="2477862"/>
            <a:ext cx="285750" cy="287338"/>
            <a:chOff x="2025650" y="4786313"/>
            <a:chExt cx="285750" cy="287338"/>
          </a:xfrm>
          <a:solidFill>
            <a:srgbClr val="125680"/>
          </a:solidFill>
          <a:effectLst/>
        </p:grpSpPr>
        <p:sp>
          <p:nvSpPr>
            <p:cNvPr id="140" name="Freeform 565"/>
            <p:cNvSpPr>
              <a:spLocks noEditPoints="1"/>
            </p:cNvSpPr>
            <p:nvPr/>
          </p:nvSpPr>
          <p:spPr bwMode="auto">
            <a:xfrm>
              <a:off x="2025650" y="4786313"/>
              <a:ext cx="285750" cy="287338"/>
            </a:xfrm>
            <a:custGeom>
              <a:avLst/>
              <a:gdLst>
                <a:gd name="T0" fmla="*/ 812 w 903"/>
                <a:gd name="T1" fmla="*/ 500 h 903"/>
                <a:gd name="T2" fmla="*/ 810 w 903"/>
                <a:gd name="T3" fmla="*/ 505 h 903"/>
                <a:gd name="T4" fmla="*/ 806 w 903"/>
                <a:gd name="T5" fmla="*/ 509 h 903"/>
                <a:gd name="T6" fmla="*/ 800 w 903"/>
                <a:gd name="T7" fmla="*/ 511 h 903"/>
                <a:gd name="T8" fmla="*/ 105 w 903"/>
                <a:gd name="T9" fmla="*/ 511 h 903"/>
                <a:gd name="T10" fmla="*/ 99 w 903"/>
                <a:gd name="T11" fmla="*/ 510 h 903"/>
                <a:gd name="T12" fmla="*/ 95 w 903"/>
                <a:gd name="T13" fmla="*/ 507 h 903"/>
                <a:gd name="T14" fmla="*/ 92 w 903"/>
                <a:gd name="T15" fmla="*/ 502 h 903"/>
                <a:gd name="T16" fmla="*/ 90 w 903"/>
                <a:gd name="T17" fmla="*/ 496 h 903"/>
                <a:gd name="T18" fmla="*/ 90 w 903"/>
                <a:gd name="T19" fmla="*/ 105 h 903"/>
                <a:gd name="T20" fmla="*/ 92 w 903"/>
                <a:gd name="T21" fmla="*/ 100 h 903"/>
                <a:gd name="T22" fmla="*/ 95 w 903"/>
                <a:gd name="T23" fmla="*/ 94 h 903"/>
                <a:gd name="T24" fmla="*/ 99 w 903"/>
                <a:gd name="T25" fmla="*/ 91 h 903"/>
                <a:gd name="T26" fmla="*/ 105 w 903"/>
                <a:gd name="T27" fmla="*/ 90 h 903"/>
                <a:gd name="T28" fmla="*/ 800 w 903"/>
                <a:gd name="T29" fmla="*/ 90 h 903"/>
                <a:gd name="T30" fmla="*/ 806 w 903"/>
                <a:gd name="T31" fmla="*/ 92 h 903"/>
                <a:gd name="T32" fmla="*/ 810 w 903"/>
                <a:gd name="T33" fmla="*/ 96 h 903"/>
                <a:gd name="T34" fmla="*/ 812 w 903"/>
                <a:gd name="T35" fmla="*/ 102 h 903"/>
                <a:gd name="T36" fmla="*/ 813 w 903"/>
                <a:gd name="T37" fmla="*/ 496 h 903"/>
                <a:gd name="T38" fmla="*/ 15 w 903"/>
                <a:gd name="T39" fmla="*/ 0 h 903"/>
                <a:gd name="T40" fmla="*/ 9 w 903"/>
                <a:gd name="T41" fmla="*/ 1 h 903"/>
                <a:gd name="T42" fmla="*/ 5 w 903"/>
                <a:gd name="T43" fmla="*/ 4 h 903"/>
                <a:gd name="T44" fmla="*/ 1 w 903"/>
                <a:gd name="T45" fmla="*/ 8 h 903"/>
                <a:gd name="T46" fmla="*/ 0 w 903"/>
                <a:gd name="T47" fmla="*/ 15 h 903"/>
                <a:gd name="T48" fmla="*/ 0 w 903"/>
                <a:gd name="T49" fmla="*/ 590 h 903"/>
                <a:gd name="T50" fmla="*/ 2 w 903"/>
                <a:gd name="T51" fmla="*/ 595 h 903"/>
                <a:gd name="T52" fmla="*/ 7 w 903"/>
                <a:gd name="T53" fmla="*/ 599 h 903"/>
                <a:gd name="T54" fmla="*/ 12 w 903"/>
                <a:gd name="T55" fmla="*/ 602 h 903"/>
                <a:gd name="T56" fmla="*/ 437 w 903"/>
                <a:gd name="T57" fmla="*/ 602 h 903"/>
                <a:gd name="T58" fmla="*/ 260 w 903"/>
                <a:gd name="T59" fmla="*/ 877 h 903"/>
                <a:gd name="T60" fmla="*/ 257 w 903"/>
                <a:gd name="T61" fmla="*/ 883 h 903"/>
                <a:gd name="T62" fmla="*/ 256 w 903"/>
                <a:gd name="T63" fmla="*/ 888 h 903"/>
                <a:gd name="T64" fmla="*/ 257 w 903"/>
                <a:gd name="T65" fmla="*/ 893 h 903"/>
                <a:gd name="T66" fmla="*/ 260 w 903"/>
                <a:gd name="T67" fmla="*/ 899 h 903"/>
                <a:gd name="T68" fmla="*/ 265 w 903"/>
                <a:gd name="T69" fmla="*/ 902 h 903"/>
                <a:gd name="T70" fmla="*/ 271 w 903"/>
                <a:gd name="T71" fmla="*/ 903 h 903"/>
                <a:gd name="T72" fmla="*/ 277 w 903"/>
                <a:gd name="T73" fmla="*/ 902 h 903"/>
                <a:gd name="T74" fmla="*/ 281 w 903"/>
                <a:gd name="T75" fmla="*/ 899 h 903"/>
                <a:gd name="T76" fmla="*/ 621 w 903"/>
                <a:gd name="T77" fmla="*/ 899 h 903"/>
                <a:gd name="T78" fmla="*/ 627 w 903"/>
                <a:gd name="T79" fmla="*/ 902 h 903"/>
                <a:gd name="T80" fmla="*/ 632 w 903"/>
                <a:gd name="T81" fmla="*/ 903 h 903"/>
                <a:gd name="T82" fmla="*/ 637 w 903"/>
                <a:gd name="T83" fmla="*/ 902 h 903"/>
                <a:gd name="T84" fmla="*/ 643 w 903"/>
                <a:gd name="T85" fmla="*/ 899 h 903"/>
                <a:gd name="T86" fmla="*/ 646 w 903"/>
                <a:gd name="T87" fmla="*/ 893 h 903"/>
                <a:gd name="T88" fmla="*/ 647 w 903"/>
                <a:gd name="T89" fmla="*/ 888 h 903"/>
                <a:gd name="T90" fmla="*/ 646 w 903"/>
                <a:gd name="T91" fmla="*/ 883 h 903"/>
                <a:gd name="T92" fmla="*/ 643 w 903"/>
                <a:gd name="T93" fmla="*/ 877 h 903"/>
                <a:gd name="T94" fmla="*/ 467 w 903"/>
                <a:gd name="T95" fmla="*/ 602 h 903"/>
                <a:gd name="T96" fmla="*/ 892 w 903"/>
                <a:gd name="T97" fmla="*/ 602 h 903"/>
                <a:gd name="T98" fmla="*/ 897 w 903"/>
                <a:gd name="T99" fmla="*/ 599 h 903"/>
                <a:gd name="T100" fmla="*/ 900 w 903"/>
                <a:gd name="T101" fmla="*/ 595 h 903"/>
                <a:gd name="T102" fmla="*/ 902 w 903"/>
                <a:gd name="T103" fmla="*/ 590 h 903"/>
                <a:gd name="T104" fmla="*/ 903 w 903"/>
                <a:gd name="T105" fmla="*/ 15 h 903"/>
                <a:gd name="T106" fmla="*/ 902 w 903"/>
                <a:gd name="T107" fmla="*/ 8 h 903"/>
                <a:gd name="T108" fmla="*/ 899 w 903"/>
                <a:gd name="T109" fmla="*/ 4 h 903"/>
                <a:gd name="T110" fmla="*/ 894 w 903"/>
                <a:gd name="T111" fmla="*/ 1 h 903"/>
                <a:gd name="T112" fmla="*/ 888 w 903"/>
                <a:gd name="T113" fmla="*/ 0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3" h="903">
                  <a:moveTo>
                    <a:pt x="813" y="496"/>
                  </a:moveTo>
                  <a:lnTo>
                    <a:pt x="812" y="500"/>
                  </a:lnTo>
                  <a:lnTo>
                    <a:pt x="811" y="502"/>
                  </a:lnTo>
                  <a:lnTo>
                    <a:pt x="810" y="505"/>
                  </a:lnTo>
                  <a:lnTo>
                    <a:pt x="808" y="507"/>
                  </a:lnTo>
                  <a:lnTo>
                    <a:pt x="806" y="509"/>
                  </a:lnTo>
                  <a:lnTo>
                    <a:pt x="804" y="510"/>
                  </a:lnTo>
                  <a:lnTo>
                    <a:pt x="800" y="511"/>
                  </a:lnTo>
                  <a:lnTo>
                    <a:pt x="797" y="511"/>
                  </a:lnTo>
                  <a:lnTo>
                    <a:pt x="105" y="511"/>
                  </a:lnTo>
                  <a:lnTo>
                    <a:pt x="102" y="511"/>
                  </a:lnTo>
                  <a:lnTo>
                    <a:pt x="99" y="510"/>
                  </a:lnTo>
                  <a:lnTo>
                    <a:pt x="97" y="509"/>
                  </a:lnTo>
                  <a:lnTo>
                    <a:pt x="95" y="507"/>
                  </a:lnTo>
                  <a:lnTo>
                    <a:pt x="93" y="505"/>
                  </a:lnTo>
                  <a:lnTo>
                    <a:pt x="92" y="502"/>
                  </a:lnTo>
                  <a:lnTo>
                    <a:pt x="90" y="500"/>
                  </a:lnTo>
                  <a:lnTo>
                    <a:pt x="90" y="496"/>
                  </a:lnTo>
                  <a:lnTo>
                    <a:pt x="90" y="316"/>
                  </a:lnTo>
                  <a:lnTo>
                    <a:pt x="90" y="105"/>
                  </a:lnTo>
                  <a:lnTo>
                    <a:pt x="90" y="102"/>
                  </a:lnTo>
                  <a:lnTo>
                    <a:pt x="92" y="100"/>
                  </a:lnTo>
                  <a:lnTo>
                    <a:pt x="93" y="96"/>
                  </a:lnTo>
                  <a:lnTo>
                    <a:pt x="95" y="94"/>
                  </a:lnTo>
                  <a:lnTo>
                    <a:pt x="97" y="92"/>
                  </a:lnTo>
                  <a:lnTo>
                    <a:pt x="99" y="91"/>
                  </a:lnTo>
                  <a:lnTo>
                    <a:pt x="102" y="90"/>
                  </a:lnTo>
                  <a:lnTo>
                    <a:pt x="105" y="90"/>
                  </a:lnTo>
                  <a:lnTo>
                    <a:pt x="798" y="90"/>
                  </a:lnTo>
                  <a:lnTo>
                    <a:pt x="800" y="90"/>
                  </a:lnTo>
                  <a:lnTo>
                    <a:pt x="804" y="91"/>
                  </a:lnTo>
                  <a:lnTo>
                    <a:pt x="806" y="92"/>
                  </a:lnTo>
                  <a:lnTo>
                    <a:pt x="808" y="94"/>
                  </a:lnTo>
                  <a:lnTo>
                    <a:pt x="810" y="96"/>
                  </a:lnTo>
                  <a:lnTo>
                    <a:pt x="811" y="100"/>
                  </a:lnTo>
                  <a:lnTo>
                    <a:pt x="812" y="102"/>
                  </a:lnTo>
                  <a:lnTo>
                    <a:pt x="813" y="105"/>
                  </a:lnTo>
                  <a:lnTo>
                    <a:pt x="813" y="496"/>
                  </a:lnTo>
                  <a:close/>
                  <a:moveTo>
                    <a:pt x="888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587"/>
                  </a:lnTo>
                  <a:lnTo>
                    <a:pt x="0" y="590"/>
                  </a:lnTo>
                  <a:lnTo>
                    <a:pt x="1" y="593"/>
                  </a:lnTo>
                  <a:lnTo>
                    <a:pt x="2" y="595"/>
                  </a:lnTo>
                  <a:lnTo>
                    <a:pt x="5" y="597"/>
                  </a:lnTo>
                  <a:lnTo>
                    <a:pt x="7" y="599"/>
                  </a:lnTo>
                  <a:lnTo>
                    <a:pt x="9" y="601"/>
                  </a:lnTo>
                  <a:lnTo>
                    <a:pt x="12" y="602"/>
                  </a:lnTo>
                  <a:lnTo>
                    <a:pt x="15" y="602"/>
                  </a:lnTo>
                  <a:lnTo>
                    <a:pt x="437" y="602"/>
                  </a:lnTo>
                  <a:lnTo>
                    <a:pt x="437" y="701"/>
                  </a:lnTo>
                  <a:lnTo>
                    <a:pt x="260" y="877"/>
                  </a:lnTo>
                  <a:lnTo>
                    <a:pt x="259" y="879"/>
                  </a:lnTo>
                  <a:lnTo>
                    <a:pt x="257" y="883"/>
                  </a:lnTo>
                  <a:lnTo>
                    <a:pt x="256" y="885"/>
                  </a:lnTo>
                  <a:lnTo>
                    <a:pt x="256" y="888"/>
                  </a:lnTo>
                  <a:lnTo>
                    <a:pt x="256" y="891"/>
                  </a:lnTo>
                  <a:lnTo>
                    <a:pt x="257" y="893"/>
                  </a:lnTo>
                  <a:lnTo>
                    <a:pt x="259" y="897"/>
                  </a:lnTo>
                  <a:lnTo>
                    <a:pt x="260" y="899"/>
                  </a:lnTo>
                  <a:lnTo>
                    <a:pt x="263" y="901"/>
                  </a:lnTo>
                  <a:lnTo>
                    <a:pt x="265" y="902"/>
                  </a:lnTo>
                  <a:lnTo>
                    <a:pt x="268" y="903"/>
                  </a:lnTo>
                  <a:lnTo>
                    <a:pt x="271" y="903"/>
                  </a:lnTo>
                  <a:lnTo>
                    <a:pt x="274" y="903"/>
                  </a:lnTo>
                  <a:lnTo>
                    <a:pt x="277" y="902"/>
                  </a:lnTo>
                  <a:lnTo>
                    <a:pt x="279" y="901"/>
                  </a:lnTo>
                  <a:lnTo>
                    <a:pt x="281" y="899"/>
                  </a:lnTo>
                  <a:lnTo>
                    <a:pt x="452" y="728"/>
                  </a:lnTo>
                  <a:lnTo>
                    <a:pt x="621" y="899"/>
                  </a:lnTo>
                  <a:lnTo>
                    <a:pt x="623" y="901"/>
                  </a:lnTo>
                  <a:lnTo>
                    <a:pt x="627" y="902"/>
                  </a:lnTo>
                  <a:lnTo>
                    <a:pt x="629" y="903"/>
                  </a:lnTo>
                  <a:lnTo>
                    <a:pt x="632" y="903"/>
                  </a:lnTo>
                  <a:lnTo>
                    <a:pt x="635" y="903"/>
                  </a:lnTo>
                  <a:lnTo>
                    <a:pt x="637" y="902"/>
                  </a:lnTo>
                  <a:lnTo>
                    <a:pt x="641" y="901"/>
                  </a:lnTo>
                  <a:lnTo>
                    <a:pt x="643" y="899"/>
                  </a:lnTo>
                  <a:lnTo>
                    <a:pt x="645" y="897"/>
                  </a:lnTo>
                  <a:lnTo>
                    <a:pt x="646" y="893"/>
                  </a:lnTo>
                  <a:lnTo>
                    <a:pt x="647" y="891"/>
                  </a:lnTo>
                  <a:lnTo>
                    <a:pt x="647" y="888"/>
                  </a:lnTo>
                  <a:lnTo>
                    <a:pt x="647" y="885"/>
                  </a:lnTo>
                  <a:lnTo>
                    <a:pt x="646" y="883"/>
                  </a:lnTo>
                  <a:lnTo>
                    <a:pt x="645" y="879"/>
                  </a:lnTo>
                  <a:lnTo>
                    <a:pt x="643" y="877"/>
                  </a:lnTo>
                  <a:lnTo>
                    <a:pt x="467" y="701"/>
                  </a:lnTo>
                  <a:lnTo>
                    <a:pt x="467" y="602"/>
                  </a:lnTo>
                  <a:lnTo>
                    <a:pt x="888" y="602"/>
                  </a:lnTo>
                  <a:lnTo>
                    <a:pt x="892" y="602"/>
                  </a:lnTo>
                  <a:lnTo>
                    <a:pt x="894" y="601"/>
                  </a:lnTo>
                  <a:lnTo>
                    <a:pt x="897" y="599"/>
                  </a:lnTo>
                  <a:lnTo>
                    <a:pt x="899" y="597"/>
                  </a:lnTo>
                  <a:lnTo>
                    <a:pt x="900" y="595"/>
                  </a:lnTo>
                  <a:lnTo>
                    <a:pt x="902" y="593"/>
                  </a:lnTo>
                  <a:lnTo>
                    <a:pt x="902" y="590"/>
                  </a:lnTo>
                  <a:lnTo>
                    <a:pt x="903" y="587"/>
                  </a:lnTo>
                  <a:lnTo>
                    <a:pt x="903" y="15"/>
                  </a:lnTo>
                  <a:lnTo>
                    <a:pt x="902" y="12"/>
                  </a:lnTo>
                  <a:lnTo>
                    <a:pt x="902" y="8"/>
                  </a:lnTo>
                  <a:lnTo>
                    <a:pt x="900" y="6"/>
                  </a:lnTo>
                  <a:lnTo>
                    <a:pt x="899" y="4"/>
                  </a:lnTo>
                  <a:lnTo>
                    <a:pt x="897" y="2"/>
                  </a:lnTo>
                  <a:lnTo>
                    <a:pt x="894" y="1"/>
                  </a:lnTo>
                  <a:lnTo>
                    <a:pt x="892" y="0"/>
                  </a:lnTo>
                  <a:lnTo>
                    <a:pt x="88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566"/>
            <p:cNvSpPr>
              <a:spLocks/>
            </p:cNvSpPr>
            <p:nvPr/>
          </p:nvSpPr>
          <p:spPr bwMode="auto">
            <a:xfrm>
              <a:off x="2054225" y="4843463"/>
              <a:ext cx="200025" cy="73025"/>
            </a:xfrm>
            <a:custGeom>
              <a:avLst/>
              <a:gdLst>
                <a:gd name="T0" fmla="*/ 151 w 632"/>
                <a:gd name="T1" fmla="*/ 151 h 226"/>
                <a:gd name="T2" fmla="*/ 157 w 632"/>
                <a:gd name="T3" fmla="*/ 149 h 226"/>
                <a:gd name="T4" fmla="*/ 161 w 632"/>
                <a:gd name="T5" fmla="*/ 146 h 226"/>
                <a:gd name="T6" fmla="*/ 288 w 632"/>
                <a:gd name="T7" fmla="*/ 217 h 226"/>
                <a:gd name="T8" fmla="*/ 292 w 632"/>
                <a:gd name="T9" fmla="*/ 223 h 226"/>
                <a:gd name="T10" fmla="*/ 299 w 632"/>
                <a:gd name="T11" fmla="*/ 226 h 226"/>
                <a:gd name="T12" fmla="*/ 302 w 632"/>
                <a:gd name="T13" fmla="*/ 226 h 226"/>
                <a:gd name="T14" fmla="*/ 307 w 632"/>
                <a:gd name="T15" fmla="*/ 225 h 226"/>
                <a:gd name="T16" fmla="*/ 313 w 632"/>
                <a:gd name="T17" fmla="*/ 222 h 226"/>
                <a:gd name="T18" fmla="*/ 471 w 632"/>
                <a:gd name="T19" fmla="*/ 191 h 226"/>
                <a:gd name="T20" fmla="*/ 477 w 632"/>
                <a:gd name="T21" fmla="*/ 195 h 226"/>
                <a:gd name="T22" fmla="*/ 483 w 632"/>
                <a:gd name="T23" fmla="*/ 196 h 226"/>
                <a:gd name="T24" fmla="*/ 488 w 632"/>
                <a:gd name="T25" fmla="*/ 194 h 226"/>
                <a:gd name="T26" fmla="*/ 494 w 632"/>
                <a:gd name="T27" fmla="*/ 191 h 226"/>
                <a:gd name="T28" fmla="*/ 631 w 632"/>
                <a:gd name="T29" fmla="*/ 23 h 226"/>
                <a:gd name="T30" fmla="*/ 632 w 632"/>
                <a:gd name="T31" fmla="*/ 16 h 226"/>
                <a:gd name="T32" fmla="*/ 632 w 632"/>
                <a:gd name="T33" fmla="*/ 11 h 226"/>
                <a:gd name="T34" fmla="*/ 629 w 632"/>
                <a:gd name="T35" fmla="*/ 5 h 226"/>
                <a:gd name="T36" fmla="*/ 625 w 632"/>
                <a:gd name="T37" fmla="*/ 2 h 226"/>
                <a:gd name="T38" fmla="*/ 619 w 632"/>
                <a:gd name="T39" fmla="*/ 0 h 226"/>
                <a:gd name="T40" fmla="*/ 613 w 632"/>
                <a:gd name="T41" fmla="*/ 1 h 226"/>
                <a:gd name="T42" fmla="*/ 607 w 632"/>
                <a:gd name="T43" fmla="*/ 3 h 226"/>
                <a:gd name="T44" fmla="*/ 481 w 632"/>
                <a:gd name="T45" fmla="*/ 159 h 226"/>
                <a:gd name="T46" fmla="*/ 415 w 632"/>
                <a:gd name="T47" fmla="*/ 93 h 226"/>
                <a:gd name="T48" fmla="*/ 409 w 632"/>
                <a:gd name="T49" fmla="*/ 91 h 226"/>
                <a:gd name="T50" fmla="*/ 404 w 632"/>
                <a:gd name="T51" fmla="*/ 91 h 226"/>
                <a:gd name="T52" fmla="*/ 398 w 632"/>
                <a:gd name="T53" fmla="*/ 93 h 226"/>
                <a:gd name="T54" fmla="*/ 307 w 632"/>
                <a:gd name="T55" fmla="*/ 185 h 226"/>
                <a:gd name="T56" fmla="*/ 247 w 632"/>
                <a:gd name="T57" fmla="*/ 39 h 226"/>
                <a:gd name="T58" fmla="*/ 242 w 632"/>
                <a:gd name="T59" fmla="*/ 34 h 226"/>
                <a:gd name="T60" fmla="*/ 234 w 632"/>
                <a:gd name="T61" fmla="*/ 33 h 226"/>
                <a:gd name="T62" fmla="*/ 227 w 632"/>
                <a:gd name="T63" fmla="*/ 35 h 226"/>
                <a:gd name="T64" fmla="*/ 144 w 632"/>
                <a:gd name="T65" fmla="*/ 121 h 226"/>
                <a:gd name="T66" fmla="*/ 12 w 632"/>
                <a:gd name="T67" fmla="*/ 121 h 226"/>
                <a:gd name="T68" fmla="*/ 7 w 632"/>
                <a:gd name="T69" fmla="*/ 123 h 226"/>
                <a:gd name="T70" fmla="*/ 3 w 632"/>
                <a:gd name="T71" fmla="*/ 128 h 226"/>
                <a:gd name="T72" fmla="*/ 0 w 632"/>
                <a:gd name="T73" fmla="*/ 133 h 226"/>
                <a:gd name="T74" fmla="*/ 0 w 632"/>
                <a:gd name="T75" fmla="*/ 138 h 226"/>
                <a:gd name="T76" fmla="*/ 3 w 632"/>
                <a:gd name="T77" fmla="*/ 144 h 226"/>
                <a:gd name="T78" fmla="*/ 7 w 632"/>
                <a:gd name="T79" fmla="*/ 148 h 226"/>
                <a:gd name="T80" fmla="*/ 12 w 632"/>
                <a:gd name="T81" fmla="*/ 150 h 226"/>
                <a:gd name="T82" fmla="*/ 15 w 632"/>
                <a:gd name="T83" fmla="*/ 15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32" h="226">
                  <a:moveTo>
                    <a:pt x="15" y="151"/>
                  </a:moveTo>
                  <a:lnTo>
                    <a:pt x="151" y="151"/>
                  </a:lnTo>
                  <a:lnTo>
                    <a:pt x="154" y="150"/>
                  </a:lnTo>
                  <a:lnTo>
                    <a:pt x="157" y="149"/>
                  </a:lnTo>
                  <a:lnTo>
                    <a:pt x="159" y="148"/>
                  </a:lnTo>
                  <a:lnTo>
                    <a:pt x="161" y="146"/>
                  </a:lnTo>
                  <a:lnTo>
                    <a:pt x="230" y="75"/>
                  </a:lnTo>
                  <a:lnTo>
                    <a:pt x="288" y="217"/>
                  </a:lnTo>
                  <a:lnTo>
                    <a:pt x="289" y="220"/>
                  </a:lnTo>
                  <a:lnTo>
                    <a:pt x="292" y="223"/>
                  </a:lnTo>
                  <a:lnTo>
                    <a:pt x="294" y="224"/>
                  </a:lnTo>
                  <a:lnTo>
                    <a:pt x="299" y="226"/>
                  </a:lnTo>
                  <a:lnTo>
                    <a:pt x="300" y="226"/>
                  </a:lnTo>
                  <a:lnTo>
                    <a:pt x="302" y="226"/>
                  </a:lnTo>
                  <a:lnTo>
                    <a:pt x="304" y="226"/>
                  </a:lnTo>
                  <a:lnTo>
                    <a:pt x="307" y="225"/>
                  </a:lnTo>
                  <a:lnTo>
                    <a:pt x="309" y="223"/>
                  </a:lnTo>
                  <a:lnTo>
                    <a:pt x="313" y="222"/>
                  </a:lnTo>
                  <a:lnTo>
                    <a:pt x="407" y="127"/>
                  </a:lnTo>
                  <a:lnTo>
                    <a:pt x="471" y="191"/>
                  </a:lnTo>
                  <a:lnTo>
                    <a:pt x="473" y="193"/>
                  </a:lnTo>
                  <a:lnTo>
                    <a:pt x="477" y="195"/>
                  </a:lnTo>
                  <a:lnTo>
                    <a:pt x="480" y="196"/>
                  </a:lnTo>
                  <a:lnTo>
                    <a:pt x="483" y="196"/>
                  </a:lnTo>
                  <a:lnTo>
                    <a:pt x="486" y="195"/>
                  </a:lnTo>
                  <a:lnTo>
                    <a:pt x="488" y="194"/>
                  </a:lnTo>
                  <a:lnTo>
                    <a:pt x="492" y="193"/>
                  </a:lnTo>
                  <a:lnTo>
                    <a:pt x="494" y="191"/>
                  </a:lnTo>
                  <a:lnTo>
                    <a:pt x="629" y="25"/>
                  </a:lnTo>
                  <a:lnTo>
                    <a:pt x="631" y="23"/>
                  </a:lnTo>
                  <a:lnTo>
                    <a:pt x="632" y="19"/>
                  </a:lnTo>
                  <a:lnTo>
                    <a:pt x="632" y="16"/>
                  </a:lnTo>
                  <a:lnTo>
                    <a:pt x="632" y="14"/>
                  </a:lnTo>
                  <a:lnTo>
                    <a:pt x="632" y="11"/>
                  </a:lnTo>
                  <a:lnTo>
                    <a:pt x="631" y="9"/>
                  </a:lnTo>
                  <a:lnTo>
                    <a:pt x="629" y="5"/>
                  </a:lnTo>
                  <a:lnTo>
                    <a:pt x="627" y="3"/>
                  </a:lnTo>
                  <a:lnTo>
                    <a:pt x="625" y="2"/>
                  </a:lnTo>
                  <a:lnTo>
                    <a:pt x="621" y="1"/>
                  </a:lnTo>
                  <a:lnTo>
                    <a:pt x="619" y="0"/>
                  </a:lnTo>
                  <a:lnTo>
                    <a:pt x="616" y="0"/>
                  </a:lnTo>
                  <a:lnTo>
                    <a:pt x="613" y="1"/>
                  </a:lnTo>
                  <a:lnTo>
                    <a:pt x="611" y="2"/>
                  </a:lnTo>
                  <a:lnTo>
                    <a:pt x="607" y="3"/>
                  </a:lnTo>
                  <a:lnTo>
                    <a:pt x="605" y="5"/>
                  </a:lnTo>
                  <a:lnTo>
                    <a:pt x="481" y="159"/>
                  </a:lnTo>
                  <a:lnTo>
                    <a:pt x="418" y="95"/>
                  </a:lnTo>
                  <a:lnTo>
                    <a:pt x="415" y="93"/>
                  </a:lnTo>
                  <a:lnTo>
                    <a:pt x="412" y="91"/>
                  </a:lnTo>
                  <a:lnTo>
                    <a:pt x="409" y="91"/>
                  </a:lnTo>
                  <a:lnTo>
                    <a:pt x="407" y="90"/>
                  </a:lnTo>
                  <a:lnTo>
                    <a:pt x="404" y="91"/>
                  </a:lnTo>
                  <a:lnTo>
                    <a:pt x="400" y="91"/>
                  </a:lnTo>
                  <a:lnTo>
                    <a:pt x="398" y="93"/>
                  </a:lnTo>
                  <a:lnTo>
                    <a:pt x="396" y="95"/>
                  </a:lnTo>
                  <a:lnTo>
                    <a:pt x="307" y="185"/>
                  </a:lnTo>
                  <a:lnTo>
                    <a:pt x="249" y="42"/>
                  </a:lnTo>
                  <a:lnTo>
                    <a:pt x="247" y="39"/>
                  </a:lnTo>
                  <a:lnTo>
                    <a:pt x="244" y="36"/>
                  </a:lnTo>
                  <a:lnTo>
                    <a:pt x="242" y="34"/>
                  </a:lnTo>
                  <a:lnTo>
                    <a:pt x="237" y="33"/>
                  </a:lnTo>
                  <a:lnTo>
                    <a:pt x="234" y="33"/>
                  </a:lnTo>
                  <a:lnTo>
                    <a:pt x="230" y="33"/>
                  </a:lnTo>
                  <a:lnTo>
                    <a:pt x="227" y="35"/>
                  </a:lnTo>
                  <a:lnTo>
                    <a:pt x="224" y="38"/>
                  </a:lnTo>
                  <a:lnTo>
                    <a:pt x="144" y="121"/>
                  </a:lnTo>
                  <a:lnTo>
                    <a:pt x="15" y="121"/>
                  </a:lnTo>
                  <a:lnTo>
                    <a:pt x="12" y="121"/>
                  </a:lnTo>
                  <a:lnTo>
                    <a:pt x="9" y="122"/>
                  </a:lnTo>
                  <a:lnTo>
                    <a:pt x="7" y="123"/>
                  </a:lnTo>
                  <a:lnTo>
                    <a:pt x="5" y="126"/>
                  </a:lnTo>
                  <a:lnTo>
                    <a:pt x="3" y="128"/>
                  </a:lnTo>
                  <a:lnTo>
                    <a:pt x="2" y="130"/>
                  </a:lnTo>
                  <a:lnTo>
                    <a:pt x="0" y="133"/>
                  </a:lnTo>
                  <a:lnTo>
                    <a:pt x="0" y="136"/>
                  </a:lnTo>
                  <a:lnTo>
                    <a:pt x="0" y="138"/>
                  </a:lnTo>
                  <a:lnTo>
                    <a:pt x="2" y="142"/>
                  </a:lnTo>
                  <a:lnTo>
                    <a:pt x="3" y="144"/>
                  </a:lnTo>
                  <a:lnTo>
                    <a:pt x="5" y="146"/>
                  </a:lnTo>
                  <a:lnTo>
                    <a:pt x="7" y="148"/>
                  </a:lnTo>
                  <a:lnTo>
                    <a:pt x="9" y="150"/>
                  </a:lnTo>
                  <a:lnTo>
                    <a:pt x="12" y="150"/>
                  </a:lnTo>
                  <a:lnTo>
                    <a:pt x="15" y="151"/>
                  </a:lnTo>
                  <a:lnTo>
                    <a:pt x="15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2" name="Group 141"/>
          <p:cNvGrpSpPr/>
          <p:nvPr/>
        </p:nvGrpSpPr>
        <p:grpSpPr>
          <a:xfrm>
            <a:off x="5851052" y="2486837"/>
            <a:ext cx="285750" cy="225425"/>
            <a:chOff x="9883775" y="5410200"/>
            <a:chExt cx="285750" cy="225425"/>
          </a:xfrm>
          <a:solidFill>
            <a:srgbClr val="125680"/>
          </a:solidFill>
          <a:effectLst/>
        </p:grpSpPr>
        <p:sp>
          <p:nvSpPr>
            <p:cNvPr id="143" name="Freeform 3677"/>
            <p:cNvSpPr>
              <a:spLocks/>
            </p:cNvSpPr>
            <p:nvPr/>
          </p:nvSpPr>
          <p:spPr bwMode="auto">
            <a:xfrm>
              <a:off x="10052050" y="5445125"/>
              <a:ext cx="117475" cy="190500"/>
            </a:xfrm>
            <a:custGeom>
              <a:avLst/>
              <a:gdLst>
                <a:gd name="T0" fmla="*/ 201 w 296"/>
                <a:gd name="T1" fmla="*/ 285 h 482"/>
                <a:gd name="T2" fmla="*/ 168 w 296"/>
                <a:gd name="T3" fmla="*/ 275 h 482"/>
                <a:gd name="T4" fmla="*/ 153 w 296"/>
                <a:gd name="T5" fmla="*/ 238 h 482"/>
                <a:gd name="T6" fmla="*/ 163 w 296"/>
                <a:gd name="T7" fmla="*/ 230 h 482"/>
                <a:gd name="T8" fmla="*/ 176 w 296"/>
                <a:gd name="T9" fmla="*/ 219 h 482"/>
                <a:gd name="T10" fmla="*/ 185 w 296"/>
                <a:gd name="T11" fmla="*/ 201 h 482"/>
                <a:gd name="T12" fmla="*/ 190 w 296"/>
                <a:gd name="T13" fmla="*/ 175 h 482"/>
                <a:gd name="T14" fmla="*/ 198 w 296"/>
                <a:gd name="T15" fmla="*/ 167 h 482"/>
                <a:gd name="T16" fmla="*/ 201 w 296"/>
                <a:gd name="T17" fmla="*/ 158 h 482"/>
                <a:gd name="T18" fmla="*/ 205 w 296"/>
                <a:gd name="T19" fmla="*/ 133 h 482"/>
                <a:gd name="T20" fmla="*/ 205 w 296"/>
                <a:gd name="T21" fmla="*/ 122 h 482"/>
                <a:gd name="T22" fmla="*/ 201 w 296"/>
                <a:gd name="T23" fmla="*/ 110 h 482"/>
                <a:gd name="T24" fmla="*/ 195 w 296"/>
                <a:gd name="T25" fmla="*/ 101 h 482"/>
                <a:gd name="T26" fmla="*/ 205 w 296"/>
                <a:gd name="T27" fmla="*/ 76 h 482"/>
                <a:gd name="T28" fmla="*/ 208 w 296"/>
                <a:gd name="T29" fmla="*/ 59 h 482"/>
                <a:gd name="T30" fmla="*/ 205 w 296"/>
                <a:gd name="T31" fmla="*/ 43 h 482"/>
                <a:gd name="T32" fmla="*/ 200 w 296"/>
                <a:gd name="T33" fmla="*/ 31 h 482"/>
                <a:gd name="T34" fmla="*/ 192 w 296"/>
                <a:gd name="T35" fmla="*/ 22 h 482"/>
                <a:gd name="T36" fmla="*/ 171 w 296"/>
                <a:gd name="T37" fmla="*/ 9 h 482"/>
                <a:gd name="T38" fmla="*/ 145 w 296"/>
                <a:gd name="T39" fmla="*/ 2 h 482"/>
                <a:gd name="T40" fmla="*/ 118 w 296"/>
                <a:gd name="T41" fmla="*/ 0 h 482"/>
                <a:gd name="T42" fmla="*/ 95 w 296"/>
                <a:gd name="T43" fmla="*/ 2 h 482"/>
                <a:gd name="T44" fmla="*/ 70 w 296"/>
                <a:gd name="T45" fmla="*/ 7 h 482"/>
                <a:gd name="T46" fmla="*/ 50 w 296"/>
                <a:gd name="T47" fmla="*/ 17 h 482"/>
                <a:gd name="T48" fmla="*/ 36 w 296"/>
                <a:gd name="T49" fmla="*/ 32 h 482"/>
                <a:gd name="T50" fmla="*/ 16 w 296"/>
                <a:gd name="T51" fmla="*/ 36 h 482"/>
                <a:gd name="T52" fmla="*/ 7 w 296"/>
                <a:gd name="T53" fmla="*/ 44 h 482"/>
                <a:gd name="T54" fmla="*/ 4 w 296"/>
                <a:gd name="T55" fmla="*/ 57 h 482"/>
                <a:gd name="T56" fmla="*/ 4 w 296"/>
                <a:gd name="T57" fmla="*/ 71 h 482"/>
                <a:gd name="T58" fmla="*/ 13 w 296"/>
                <a:gd name="T59" fmla="*/ 99 h 482"/>
                <a:gd name="T60" fmla="*/ 5 w 296"/>
                <a:gd name="T61" fmla="*/ 110 h 482"/>
                <a:gd name="T62" fmla="*/ 0 w 296"/>
                <a:gd name="T63" fmla="*/ 121 h 482"/>
                <a:gd name="T64" fmla="*/ 0 w 296"/>
                <a:gd name="T65" fmla="*/ 133 h 482"/>
                <a:gd name="T66" fmla="*/ 4 w 296"/>
                <a:gd name="T67" fmla="*/ 158 h 482"/>
                <a:gd name="T68" fmla="*/ 9 w 296"/>
                <a:gd name="T69" fmla="*/ 167 h 482"/>
                <a:gd name="T70" fmla="*/ 15 w 296"/>
                <a:gd name="T71" fmla="*/ 175 h 482"/>
                <a:gd name="T72" fmla="*/ 20 w 296"/>
                <a:gd name="T73" fmla="*/ 199 h 482"/>
                <a:gd name="T74" fmla="*/ 31 w 296"/>
                <a:gd name="T75" fmla="*/ 217 h 482"/>
                <a:gd name="T76" fmla="*/ 43 w 296"/>
                <a:gd name="T77" fmla="*/ 230 h 482"/>
                <a:gd name="T78" fmla="*/ 56 w 296"/>
                <a:gd name="T79" fmla="*/ 238 h 482"/>
                <a:gd name="T80" fmla="*/ 43 w 296"/>
                <a:gd name="T81" fmla="*/ 274 h 482"/>
                <a:gd name="T82" fmla="*/ 42 w 296"/>
                <a:gd name="T83" fmla="*/ 287 h 482"/>
                <a:gd name="T84" fmla="*/ 61 w 296"/>
                <a:gd name="T85" fmla="*/ 302 h 482"/>
                <a:gd name="T86" fmla="*/ 73 w 296"/>
                <a:gd name="T87" fmla="*/ 318 h 482"/>
                <a:gd name="T88" fmla="*/ 79 w 296"/>
                <a:gd name="T89" fmla="*/ 332 h 482"/>
                <a:gd name="T90" fmla="*/ 81 w 296"/>
                <a:gd name="T91" fmla="*/ 482 h 482"/>
                <a:gd name="T92" fmla="*/ 289 w 296"/>
                <a:gd name="T93" fmla="*/ 481 h 482"/>
                <a:gd name="T94" fmla="*/ 295 w 296"/>
                <a:gd name="T95" fmla="*/ 474 h 482"/>
                <a:gd name="T96" fmla="*/ 296 w 296"/>
                <a:gd name="T97" fmla="*/ 334 h 482"/>
                <a:gd name="T98" fmla="*/ 293 w 296"/>
                <a:gd name="T99" fmla="*/ 323 h 482"/>
                <a:gd name="T100" fmla="*/ 278 w 296"/>
                <a:gd name="T101" fmla="*/ 312 h 482"/>
                <a:gd name="T102" fmla="*/ 217 w 296"/>
                <a:gd name="T103" fmla="*/ 291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96" h="482">
                  <a:moveTo>
                    <a:pt x="217" y="291"/>
                  </a:moveTo>
                  <a:lnTo>
                    <a:pt x="201" y="285"/>
                  </a:lnTo>
                  <a:lnTo>
                    <a:pt x="185" y="280"/>
                  </a:lnTo>
                  <a:lnTo>
                    <a:pt x="168" y="275"/>
                  </a:lnTo>
                  <a:lnTo>
                    <a:pt x="153" y="270"/>
                  </a:lnTo>
                  <a:lnTo>
                    <a:pt x="153" y="238"/>
                  </a:lnTo>
                  <a:lnTo>
                    <a:pt x="158" y="235"/>
                  </a:lnTo>
                  <a:lnTo>
                    <a:pt x="163" y="230"/>
                  </a:lnTo>
                  <a:lnTo>
                    <a:pt x="169" y="225"/>
                  </a:lnTo>
                  <a:lnTo>
                    <a:pt x="176" y="219"/>
                  </a:lnTo>
                  <a:lnTo>
                    <a:pt x="181" y="210"/>
                  </a:lnTo>
                  <a:lnTo>
                    <a:pt x="185" y="201"/>
                  </a:lnTo>
                  <a:lnTo>
                    <a:pt x="189" y="189"/>
                  </a:lnTo>
                  <a:lnTo>
                    <a:pt x="190" y="175"/>
                  </a:lnTo>
                  <a:lnTo>
                    <a:pt x="194" y="172"/>
                  </a:lnTo>
                  <a:lnTo>
                    <a:pt x="198" y="167"/>
                  </a:lnTo>
                  <a:lnTo>
                    <a:pt x="200" y="163"/>
                  </a:lnTo>
                  <a:lnTo>
                    <a:pt x="201" y="158"/>
                  </a:lnTo>
                  <a:lnTo>
                    <a:pt x="205" y="145"/>
                  </a:lnTo>
                  <a:lnTo>
                    <a:pt x="205" y="133"/>
                  </a:lnTo>
                  <a:lnTo>
                    <a:pt x="205" y="127"/>
                  </a:lnTo>
                  <a:lnTo>
                    <a:pt x="205" y="122"/>
                  </a:lnTo>
                  <a:lnTo>
                    <a:pt x="204" y="116"/>
                  </a:lnTo>
                  <a:lnTo>
                    <a:pt x="201" y="110"/>
                  </a:lnTo>
                  <a:lnTo>
                    <a:pt x="198" y="104"/>
                  </a:lnTo>
                  <a:lnTo>
                    <a:pt x="195" y="101"/>
                  </a:lnTo>
                  <a:lnTo>
                    <a:pt x="200" y="90"/>
                  </a:lnTo>
                  <a:lnTo>
                    <a:pt x="205" y="76"/>
                  </a:lnTo>
                  <a:lnTo>
                    <a:pt x="208" y="67"/>
                  </a:lnTo>
                  <a:lnTo>
                    <a:pt x="208" y="59"/>
                  </a:lnTo>
                  <a:lnTo>
                    <a:pt x="208" y="50"/>
                  </a:lnTo>
                  <a:lnTo>
                    <a:pt x="205" y="43"/>
                  </a:lnTo>
                  <a:lnTo>
                    <a:pt x="203" y="36"/>
                  </a:lnTo>
                  <a:lnTo>
                    <a:pt x="200" y="31"/>
                  </a:lnTo>
                  <a:lnTo>
                    <a:pt x="196" y="26"/>
                  </a:lnTo>
                  <a:lnTo>
                    <a:pt x="192" y="22"/>
                  </a:lnTo>
                  <a:lnTo>
                    <a:pt x="182" y="14"/>
                  </a:lnTo>
                  <a:lnTo>
                    <a:pt x="171" y="9"/>
                  </a:lnTo>
                  <a:lnTo>
                    <a:pt x="158" y="5"/>
                  </a:lnTo>
                  <a:lnTo>
                    <a:pt x="145" y="2"/>
                  </a:lnTo>
                  <a:lnTo>
                    <a:pt x="131" y="0"/>
                  </a:lnTo>
                  <a:lnTo>
                    <a:pt x="118" y="0"/>
                  </a:lnTo>
                  <a:lnTo>
                    <a:pt x="106" y="0"/>
                  </a:lnTo>
                  <a:lnTo>
                    <a:pt x="95" y="2"/>
                  </a:lnTo>
                  <a:lnTo>
                    <a:pt x="82" y="4"/>
                  </a:lnTo>
                  <a:lnTo>
                    <a:pt x="70" y="7"/>
                  </a:lnTo>
                  <a:lnTo>
                    <a:pt x="60" y="12"/>
                  </a:lnTo>
                  <a:lnTo>
                    <a:pt x="50" y="17"/>
                  </a:lnTo>
                  <a:lnTo>
                    <a:pt x="42" y="25"/>
                  </a:lnTo>
                  <a:lnTo>
                    <a:pt x="36" y="32"/>
                  </a:lnTo>
                  <a:lnTo>
                    <a:pt x="24" y="34"/>
                  </a:lnTo>
                  <a:lnTo>
                    <a:pt x="16" y="36"/>
                  </a:lnTo>
                  <a:lnTo>
                    <a:pt x="11" y="40"/>
                  </a:lnTo>
                  <a:lnTo>
                    <a:pt x="7" y="44"/>
                  </a:lnTo>
                  <a:lnTo>
                    <a:pt x="5" y="50"/>
                  </a:lnTo>
                  <a:lnTo>
                    <a:pt x="4" y="57"/>
                  </a:lnTo>
                  <a:lnTo>
                    <a:pt x="2" y="65"/>
                  </a:lnTo>
                  <a:lnTo>
                    <a:pt x="4" y="71"/>
                  </a:lnTo>
                  <a:lnTo>
                    <a:pt x="7" y="86"/>
                  </a:lnTo>
                  <a:lnTo>
                    <a:pt x="13" y="99"/>
                  </a:lnTo>
                  <a:lnTo>
                    <a:pt x="7" y="104"/>
                  </a:lnTo>
                  <a:lnTo>
                    <a:pt x="5" y="110"/>
                  </a:lnTo>
                  <a:lnTo>
                    <a:pt x="2" y="115"/>
                  </a:lnTo>
                  <a:lnTo>
                    <a:pt x="0" y="121"/>
                  </a:lnTo>
                  <a:lnTo>
                    <a:pt x="0" y="127"/>
                  </a:lnTo>
                  <a:lnTo>
                    <a:pt x="0" y="133"/>
                  </a:lnTo>
                  <a:lnTo>
                    <a:pt x="1" y="145"/>
                  </a:lnTo>
                  <a:lnTo>
                    <a:pt x="4" y="158"/>
                  </a:lnTo>
                  <a:lnTo>
                    <a:pt x="6" y="163"/>
                  </a:lnTo>
                  <a:lnTo>
                    <a:pt x="9" y="167"/>
                  </a:lnTo>
                  <a:lnTo>
                    <a:pt x="11" y="172"/>
                  </a:lnTo>
                  <a:lnTo>
                    <a:pt x="15" y="175"/>
                  </a:lnTo>
                  <a:lnTo>
                    <a:pt x="18" y="188"/>
                  </a:lnTo>
                  <a:lnTo>
                    <a:pt x="20" y="199"/>
                  </a:lnTo>
                  <a:lnTo>
                    <a:pt x="25" y="208"/>
                  </a:lnTo>
                  <a:lnTo>
                    <a:pt x="31" y="217"/>
                  </a:lnTo>
                  <a:lnTo>
                    <a:pt x="37" y="224"/>
                  </a:lnTo>
                  <a:lnTo>
                    <a:pt x="43" y="230"/>
                  </a:lnTo>
                  <a:lnTo>
                    <a:pt x="50" y="234"/>
                  </a:lnTo>
                  <a:lnTo>
                    <a:pt x="56" y="238"/>
                  </a:lnTo>
                  <a:lnTo>
                    <a:pt x="56" y="270"/>
                  </a:lnTo>
                  <a:lnTo>
                    <a:pt x="43" y="274"/>
                  </a:lnTo>
                  <a:lnTo>
                    <a:pt x="31" y="279"/>
                  </a:lnTo>
                  <a:lnTo>
                    <a:pt x="42" y="287"/>
                  </a:lnTo>
                  <a:lnTo>
                    <a:pt x="52" y="294"/>
                  </a:lnTo>
                  <a:lnTo>
                    <a:pt x="61" y="302"/>
                  </a:lnTo>
                  <a:lnTo>
                    <a:pt x="68" y="310"/>
                  </a:lnTo>
                  <a:lnTo>
                    <a:pt x="73" y="318"/>
                  </a:lnTo>
                  <a:lnTo>
                    <a:pt x="77" y="324"/>
                  </a:lnTo>
                  <a:lnTo>
                    <a:pt x="79" y="332"/>
                  </a:lnTo>
                  <a:lnTo>
                    <a:pt x="81" y="338"/>
                  </a:lnTo>
                  <a:lnTo>
                    <a:pt x="81" y="482"/>
                  </a:lnTo>
                  <a:lnTo>
                    <a:pt x="285" y="482"/>
                  </a:lnTo>
                  <a:lnTo>
                    <a:pt x="289" y="481"/>
                  </a:lnTo>
                  <a:lnTo>
                    <a:pt x="293" y="478"/>
                  </a:lnTo>
                  <a:lnTo>
                    <a:pt x="295" y="474"/>
                  </a:lnTo>
                  <a:lnTo>
                    <a:pt x="296" y="470"/>
                  </a:lnTo>
                  <a:lnTo>
                    <a:pt x="296" y="334"/>
                  </a:lnTo>
                  <a:lnTo>
                    <a:pt x="295" y="328"/>
                  </a:lnTo>
                  <a:lnTo>
                    <a:pt x="293" y="323"/>
                  </a:lnTo>
                  <a:lnTo>
                    <a:pt x="286" y="318"/>
                  </a:lnTo>
                  <a:lnTo>
                    <a:pt x="278" y="312"/>
                  </a:lnTo>
                  <a:lnTo>
                    <a:pt x="253" y="302"/>
                  </a:lnTo>
                  <a:lnTo>
                    <a:pt x="217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3678"/>
            <p:cNvSpPr>
              <a:spLocks/>
            </p:cNvSpPr>
            <p:nvPr/>
          </p:nvSpPr>
          <p:spPr bwMode="auto">
            <a:xfrm>
              <a:off x="9883775" y="5410200"/>
              <a:ext cx="190500" cy="225425"/>
            </a:xfrm>
            <a:custGeom>
              <a:avLst/>
              <a:gdLst>
                <a:gd name="T0" fmla="*/ 421 w 480"/>
                <a:gd name="T1" fmla="*/ 374 h 569"/>
                <a:gd name="T2" fmla="*/ 339 w 480"/>
                <a:gd name="T3" fmla="*/ 333 h 569"/>
                <a:gd name="T4" fmla="*/ 312 w 480"/>
                <a:gd name="T5" fmla="*/ 276 h 569"/>
                <a:gd name="T6" fmla="*/ 316 w 480"/>
                <a:gd name="T7" fmla="*/ 272 h 569"/>
                <a:gd name="T8" fmla="*/ 339 w 480"/>
                <a:gd name="T9" fmla="*/ 226 h 569"/>
                <a:gd name="T10" fmla="*/ 340 w 480"/>
                <a:gd name="T11" fmla="*/ 214 h 569"/>
                <a:gd name="T12" fmla="*/ 345 w 480"/>
                <a:gd name="T13" fmla="*/ 199 h 569"/>
                <a:gd name="T14" fmla="*/ 353 w 480"/>
                <a:gd name="T15" fmla="*/ 190 h 569"/>
                <a:gd name="T16" fmla="*/ 360 w 480"/>
                <a:gd name="T17" fmla="*/ 176 h 569"/>
                <a:gd name="T18" fmla="*/ 361 w 480"/>
                <a:gd name="T19" fmla="*/ 168 h 569"/>
                <a:gd name="T20" fmla="*/ 361 w 480"/>
                <a:gd name="T21" fmla="*/ 159 h 569"/>
                <a:gd name="T22" fmla="*/ 356 w 480"/>
                <a:gd name="T23" fmla="*/ 135 h 569"/>
                <a:gd name="T24" fmla="*/ 347 w 480"/>
                <a:gd name="T25" fmla="*/ 126 h 569"/>
                <a:gd name="T26" fmla="*/ 356 w 480"/>
                <a:gd name="T27" fmla="*/ 100 h 569"/>
                <a:gd name="T28" fmla="*/ 358 w 480"/>
                <a:gd name="T29" fmla="*/ 85 h 569"/>
                <a:gd name="T30" fmla="*/ 358 w 480"/>
                <a:gd name="T31" fmla="*/ 71 h 569"/>
                <a:gd name="T32" fmla="*/ 357 w 480"/>
                <a:gd name="T33" fmla="*/ 54 h 569"/>
                <a:gd name="T34" fmla="*/ 353 w 480"/>
                <a:gd name="T35" fmla="*/ 44 h 569"/>
                <a:gd name="T36" fmla="*/ 349 w 480"/>
                <a:gd name="T37" fmla="*/ 37 h 569"/>
                <a:gd name="T38" fmla="*/ 340 w 480"/>
                <a:gd name="T39" fmla="*/ 27 h 569"/>
                <a:gd name="T40" fmla="*/ 329 w 480"/>
                <a:gd name="T41" fmla="*/ 18 h 569"/>
                <a:gd name="T42" fmla="*/ 298 w 480"/>
                <a:gd name="T43" fmla="*/ 5 h 569"/>
                <a:gd name="T44" fmla="*/ 270 w 480"/>
                <a:gd name="T45" fmla="*/ 0 h 569"/>
                <a:gd name="T46" fmla="*/ 254 w 480"/>
                <a:gd name="T47" fmla="*/ 0 h 569"/>
                <a:gd name="T48" fmla="*/ 235 w 480"/>
                <a:gd name="T49" fmla="*/ 0 h 569"/>
                <a:gd name="T50" fmla="*/ 218 w 480"/>
                <a:gd name="T51" fmla="*/ 3 h 569"/>
                <a:gd name="T52" fmla="*/ 205 w 480"/>
                <a:gd name="T53" fmla="*/ 6 h 569"/>
                <a:gd name="T54" fmla="*/ 194 w 480"/>
                <a:gd name="T55" fmla="*/ 10 h 569"/>
                <a:gd name="T56" fmla="*/ 158 w 480"/>
                <a:gd name="T57" fmla="*/ 39 h 569"/>
                <a:gd name="T58" fmla="*/ 155 w 480"/>
                <a:gd name="T59" fmla="*/ 44 h 569"/>
                <a:gd name="T60" fmla="*/ 141 w 480"/>
                <a:gd name="T61" fmla="*/ 45 h 569"/>
                <a:gd name="T62" fmla="*/ 133 w 480"/>
                <a:gd name="T63" fmla="*/ 48 h 569"/>
                <a:gd name="T64" fmla="*/ 127 w 480"/>
                <a:gd name="T65" fmla="*/ 51 h 569"/>
                <a:gd name="T66" fmla="*/ 123 w 480"/>
                <a:gd name="T67" fmla="*/ 57 h 569"/>
                <a:gd name="T68" fmla="*/ 119 w 480"/>
                <a:gd name="T69" fmla="*/ 66 h 569"/>
                <a:gd name="T70" fmla="*/ 118 w 480"/>
                <a:gd name="T71" fmla="*/ 73 h 569"/>
                <a:gd name="T72" fmla="*/ 118 w 480"/>
                <a:gd name="T73" fmla="*/ 82 h 569"/>
                <a:gd name="T74" fmla="*/ 121 w 480"/>
                <a:gd name="T75" fmla="*/ 91 h 569"/>
                <a:gd name="T76" fmla="*/ 122 w 480"/>
                <a:gd name="T77" fmla="*/ 100 h 569"/>
                <a:gd name="T78" fmla="*/ 126 w 480"/>
                <a:gd name="T79" fmla="*/ 108 h 569"/>
                <a:gd name="T80" fmla="*/ 132 w 480"/>
                <a:gd name="T81" fmla="*/ 125 h 569"/>
                <a:gd name="T82" fmla="*/ 118 w 480"/>
                <a:gd name="T83" fmla="*/ 145 h 569"/>
                <a:gd name="T84" fmla="*/ 117 w 480"/>
                <a:gd name="T85" fmla="*/ 166 h 569"/>
                <a:gd name="T86" fmla="*/ 118 w 480"/>
                <a:gd name="T87" fmla="*/ 171 h 569"/>
                <a:gd name="T88" fmla="*/ 119 w 480"/>
                <a:gd name="T89" fmla="*/ 177 h 569"/>
                <a:gd name="T90" fmla="*/ 132 w 480"/>
                <a:gd name="T91" fmla="*/ 199 h 569"/>
                <a:gd name="T92" fmla="*/ 136 w 480"/>
                <a:gd name="T93" fmla="*/ 202 h 569"/>
                <a:gd name="T94" fmla="*/ 137 w 480"/>
                <a:gd name="T95" fmla="*/ 220 h 569"/>
                <a:gd name="T96" fmla="*/ 151 w 480"/>
                <a:gd name="T97" fmla="*/ 258 h 569"/>
                <a:gd name="T98" fmla="*/ 168 w 480"/>
                <a:gd name="T99" fmla="*/ 312 h 569"/>
                <a:gd name="T100" fmla="*/ 86 w 480"/>
                <a:gd name="T101" fmla="*/ 358 h 569"/>
                <a:gd name="T102" fmla="*/ 18 w 480"/>
                <a:gd name="T103" fmla="*/ 401 h 569"/>
                <a:gd name="T104" fmla="*/ 0 w 480"/>
                <a:gd name="T105" fmla="*/ 421 h 569"/>
                <a:gd name="T106" fmla="*/ 2 w 480"/>
                <a:gd name="T107" fmla="*/ 565 h 569"/>
                <a:gd name="T108" fmla="*/ 469 w 480"/>
                <a:gd name="T109" fmla="*/ 569 h 569"/>
                <a:gd name="T110" fmla="*/ 479 w 480"/>
                <a:gd name="T111" fmla="*/ 421 h 569"/>
                <a:gd name="T112" fmla="*/ 449 w 480"/>
                <a:gd name="T113" fmla="*/ 390 h 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80" h="569">
                  <a:moveTo>
                    <a:pt x="425" y="375"/>
                  </a:moveTo>
                  <a:lnTo>
                    <a:pt x="425" y="375"/>
                  </a:lnTo>
                  <a:lnTo>
                    <a:pt x="424" y="375"/>
                  </a:lnTo>
                  <a:lnTo>
                    <a:pt x="421" y="374"/>
                  </a:lnTo>
                  <a:lnTo>
                    <a:pt x="419" y="372"/>
                  </a:lnTo>
                  <a:lnTo>
                    <a:pt x="393" y="358"/>
                  </a:lnTo>
                  <a:lnTo>
                    <a:pt x="366" y="345"/>
                  </a:lnTo>
                  <a:lnTo>
                    <a:pt x="339" y="333"/>
                  </a:lnTo>
                  <a:lnTo>
                    <a:pt x="312" y="321"/>
                  </a:lnTo>
                  <a:lnTo>
                    <a:pt x="312" y="312"/>
                  </a:lnTo>
                  <a:lnTo>
                    <a:pt x="312" y="281"/>
                  </a:lnTo>
                  <a:lnTo>
                    <a:pt x="312" y="276"/>
                  </a:lnTo>
                  <a:lnTo>
                    <a:pt x="313" y="275"/>
                  </a:lnTo>
                  <a:lnTo>
                    <a:pt x="316" y="272"/>
                  </a:lnTo>
                  <a:lnTo>
                    <a:pt x="316" y="272"/>
                  </a:lnTo>
                  <a:lnTo>
                    <a:pt x="316" y="272"/>
                  </a:lnTo>
                  <a:lnTo>
                    <a:pt x="322" y="266"/>
                  </a:lnTo>
                  <a:lnTo>
                    <a:pt x="329" y="256"/>
                  </a:lnTo>
                  <a:lnTo>
                    <a:pt x="334" y="243"/>
                  </a:lnTo>
                  <a:lnTo>
                    <a:pt x="339" y="226"/>
                  </a:lnTo>
                  <a:lnTo>
                    <a:pt x="339" y="223"/>
                  </a:lnTo>
                  <a:lnTo>
                    <a:pt x="340" y="220"/>
                  </a:lnTo>
                  <a:lnTo>
                    <a:pt x="340" y="217"/>
                  </a:lnTo>
                  <a:lnTo>
                    <a:pt x="340" y="214"/>
                  </a:lnTo>
                  <a:lnTo>
                    <a:pt x="342" y="208"/>
                  </a:lnTo>
                  <a:lnTo>
                    <a:pt x="342" y="202"/>
                  </a:lnTo>
                  <a:lnTo>
                    <a:pt x="344" y="202"/>
                  </a:lnTo>
                  <a:lnTo>
                    <a:pt x="345" y="199"/>
                  </a:lnTo>
                  <a:lnTo>
                    <a:pt x="345" y="199"/>
                  </a:lnTo>
                  <a:lnTo>
                    <a:pt x="345" y="199"/>
                  </a:lnTo>
                  <a:lnTo>
                    <a:pt x="349" y="195"/>
                  </a:lnTo>
                  <a:lnTo>
                    <a:pt x="353" y="190"/>
                  </a:lnTo>
                  <a:lnTo>
                    <a:pt x="357" y="184"/>
                  </a:lnTo>
                  <a:lnTo>
                    <a:pt x="358" y="177"/>
                  </a:lnTo>
                  <a:lnTo>
                    <a:pt x="358" y="176"/>
                  </a:lnTo>
                  <a:lnTo>
                    <a:pt x="360" y="176"/>
                  </a:lnTo>
                  <a:lnTo>
                    <a:pt x="360" y="173"/>
                  </a:lnTo>
                  <a:lnTo>
                    <a:pt x="360" y="171"/>
                  </a:lnTo>
                  <a:lnTo>
                    <a:pt x="361" y="170"/>
                  </a:lnTo>
                  <a:lnTo>
                    <a:pt x="361" y="168"/>
                  </a:lnTo>
                  <a:lnTo>
                    <a:pt x="361" y="167"/>
                  </a:lnTo>
                  <a:lnTo>
                    <a:pt x="361" y="164"/>
                  </a:lnTo>
                  <a:lnTo>
                    <a:pt x="361" y="162"/>
                  </a:lnTo>
                  <a:lnTo>
                    <a:pt x="361" y="159"/>
                  </a:lnTo>
                  <a:lnTo>
                    <a:pt x="361" y="152"/>
                  </a:lnTo>
                  <a:lnTo>
                    <a:pt x="360" y="145"/>
                  </a:lnTo>
                  <a:lnTo>
                    <a:pt x="358" y="140"/>
                  </a:lnTo>
                  <a:lnTo>
                    <a:pt x="356" y="135"/>
                  </a:lnTo>
                  <a:lnTo>
                    <a:pt x="356" y="135"/>
                  </a:lnTo>
                  <a:lnTo>
                    <a:pt x="356" y="135"/>
                  </a:lnTo>
                  <a:lnTo>
                    <a:pt x="351" y="130"/>
                  </a:lnTo>
                  <a:lnTo>
                    <a:pt x="347" y="126"/>
                  </a:lnTo>
                  <a:lnTo>
                    <a:pt x="348" y="122"/>
                  </a:lnTo>
                  <a:lnTo>
                    <a:pt x="349" y="117"/>
                  </a:lnTo>
                  <a:lnTo>
                    <a:pt x="353" y="109"/>
                  </a:lnTo>
                  <a:lnTo>
                    <a:pt x="356" y="100"/>
                  </a:lnTo>
                  <a:lnTo>
                    <a:pt x="356" y="100"/>
                  </a:lnTo>
                  <a:lnTo>
                    <a:pt x="356" y="100"/>
                  </a:lnTo>
                  <a:lnTo>
                    <a:pt x="357" y="92"/>
                  </a:lnTo>
                  <a:lnTo>
                    <a:pt x="358" y="85"/>
                  </a:lnTo>
                  <a:lnTo>
                    <a:pt x="358" y="85"/>
                  </a:lnTo>
                  <a:lnTo>
                    <a:pt x="358" y="85"/>
                  </a:lnTo>
                  <a:lnTo>
                    <a:pt x="358" y="77"/>
                  </a:lnTo>
                  <a:lnTo>
                    <a:pt x="358" y="71"/>
                  </a:lnTo>
                  <a:lnTo>
                    <a:pt x="358" y="69"/>
                  </a:lnTo>
                  <a:lnTo>
                    <a:pt x="358" y="68"/>
                  </a:lnTo>
                  <a:lnTo>
                    <a:pt x="358" y="60"/>
                  </a:lnTo>
                  <a:lnTo>
                    <a:pt x="357" y="54"/>
                  </a:lnTo>
                  <a:lnTo>
                    <a:pt x="356" y="51"/>
                  </a:lnTo>
                  <a:lnTo>
                    <a:pt x="354" y="48"/>
                  </a:lnTo>
                  <a:lnTo>
                    <a:pt x="353" y="46"/>
                  </a:lnTo>
                  <a:lnTo>
                    <a:pt x="353" y="44"/>
                  </a:lnTo>
                  <a:lnTo>
                    <a:pt x="352" y="42"/>
                  </a:lnTo>
                  <a:lnTo>
                    <a:pt x="352" y="42"/>
                  </a:lnTo>
                  <a:lnTo>
                    <a:pt x="351" y="40"/>
                  </a:lnTo>
                  <a:lnTo>
                    <a:pt x="349" y="37"/>
                  </a:lnTo>
                  <a:lnTo>
                    <a:pt x="349" y="37"/>
                  </a:lnTo>
                  <a:lnTo>
                    <a:pt x="349" y="37"/>
                  </a:lnTo>
                  <a:lnTo>
                    <a:pt x="344" y="32"/>
                  </a:lnTo>
                  <a:lnTo>
                    <a:pt x="340" y="27"/>
                  </a:lnTo>
                  <a:lnTo>
                    <a:pt x="335" y="22"/>
                  </a:lnTo>
                  <a:lnTo>
                    <a:pt x="329" y="18"/>
                  </a:lnTo>
                  <a:lnTo>
                    <a:pt x="329" y="18"/>
                  </a:lnTo>
                  <a:lnTo>
                    <a:pt x="329" y="18"/>
                  </a:lnTo>
                  <a:lnTo>
                    <a:pt x="326" y="17"/>
                  </a:lnTo>
                  <a:lnTo>
                    <a:pt x="324" y="15"/>
                  </a:lnTo>
                  <a:lnTo>
                    <a:pt x="311" y="9"/>
                  </a:lnTo>
                  <a:lnTo>
                    <a:pt x="298" y="5"/>
                  </a:lnTo>
                  <a:lnTo>
                    <a:pt x="284" y="3"/>
                  </a:lnTo>
                  <a:lnTo>
                    <a:pt x="270" y="0"/>
                  </a:lnTo>
                  <a:lnTo>
                    <a:pt x="270" y="0"/>
                  </a:lnTo>
                  <a:lnTo>
                    <a:pt x="270" y="0"/>
                  </a:lnTo>
                  <a:lnTo>
                    <a:pt x="266" y="0"/>
                  </a:lnTo>
                  <a:lnTo>
                    <a:pt x="262" y="0"/>
                  </a:lnTo>
                  <a:lnTo>
                    <a:pt x="258" y="0"/>
                  </a:lnTo>
                  <a:lnTo>
                    <a:pt x="254" y="0"/>
                  </a:lnTo>
                  <a:lnTo>
                    <a:pt x="247" y="0"/>
                  </a:lnTo>
                  <a:lnTo>
                    <a:pt x="239" y="0"/>
                  </a:lnTo>
                  <a:lnTo>
                    <a:pt x="238" y="0"/>
                  </a:lnTo>
                  <a:lnTo>
                    <a:pt x="235" y="0"/>
                  </a:lnTo>
                  <a:lnTo>
                    <a:pt x="231" y="1"/>
                  </a:lnTo>
                  <a:lnTo>
                    <a:pt x="226" y="1"/>
                  </a:lnTo>
                  <a:lnTo>
                    <a:pt x="222" y="3"/>
                  </a:lnTo>
                  <a:lnTo>
                    <a:pt x="218" y="3"/>
                  </a:lnTo>
                  <a:lnTo>
                    <a:pt x="216" y="4"/>
                  </a:lnTo>
                  <a:lnTo>
                    <a:pt x="214" y="4"/>
                  </a:lnTo>
                  <a:lnTo>
                    <a:pt x="209" y="5"/>
                  </a:lnTo>
                  <a:lnTo>
                    <a:pt x="205" y="6"/>
                  </a:lnTo>
                  <a:lnTo>
                    <a:pt x="200" y="8"/>
                  </a:lnTo>
                  <a:lnTo>
                    <a:pt x="196" y="9"/>
                  </a:lnTo>
                  <a:lnTo>
                    <a:pt x="195" y="10"/>
                  </a:lnTo>
                  <a:lnTo>
                    <a:pt x="194" y="10"/>
                  </a:lnTo>
                  <a:lnTo>
                    <a:pt x="184" y="15"/>
                  </a:lnTo>
                  <a:lnTo>
                    <a:pt x="173" y="23"/>
                  </a:lnTo>
                  <a:lnTo>
                    <a:pt x="166" y="30"/>
                  </a:lnTo>
                  <a:lnTo>
                    <a:pt x="158" y="39"/>
                  </a:lnTo>
                  <a:lnTo>
                    <a:pt x="158" y="39"/>
                  </a:lnTo>
                  <a:lnTo>
                    <a:pt x="158" y="39"/>
                  </a:lnTo>
                  <a:lnTo>
                    <a:pt x="157" y="41"/>
                  </a:lnTo>
                  <a:lnTo>
                    <a:pt x="155" y="44"/>
                  </a:lnTo>
                  <a:lnTo>
                    <a:pt x="151" y="44"/>
                  </a:lnTo>
                  <a:lnTo>
                    <a:pt x="148" y="44"/>
                  </a:lnTo>
                  <a:lnTo>
                    <a:pt x="144" y="44"/>
                  </a:lnTo>
                  <a:lnTo>
                    <a:pt x="141" y="45"/>
                  </a:lnTo>
                  <a:lnTo>
                    <a:pt x="140" y="45"/>
                  </a:lnTo>
                  <a:lnTo>
                    <a:pt x="139" y="45"/>
                  </a:lnTo>
                  <a:lnTo>
                    <a:pt x="136" y="46"/>
                  </a:lnTo>
                  <a:lnTo>
                    <a:pt x="133" y="48"/>
                  </a:lnTo>
                  <a:lnTo>
                    <a:pt x="132" y="49"/>
                  </a:lnTo>
                  <a:lnTo>
                    <a:pt x="131" y="49"/>
                  </a:lnTo>
                  <a:lnTo>
                    <a:pt x="128" y="50"/>
                  </a:lnTo>
                  <a:lnTo>
                    <a:pt x="127" y="51"/>
                  </a:lnTo>
                  <a:lnTo>
                    <a:pt x="127" y="53"/>
                  </a:lnTo>
                  <a:lnTo>
                    <a:pt x="126" y="53"/>
                  </a:lnTo>
                  <a:lnTo>
                    <a:pt x="125" y="54"/>
                  </a:lnTo>
                  <a:lnTo>
                    <a:pt x="123" y="57"/>
                  </a:lnTo>
                  <a:lnTo>
                    <a:pt x="121" y="60"/>
                  </a:lnTo>
                  <a:lnTo>
                    <a:pt x="119" y="63"/>
                  </a:lnTo>
                  <a:lnTo>
                    <a:pt x="119" y="64"/>
                  </a:lnTo>
                  <a:lnTo>
                    <a:pt x="119" y="66"/>
                  </a:lnTo>
                  <a:lnTo>
                    <a:pt x="119" y="68"/>
                  </a:lnTo>
                  <a:lnTo>
                    <a:pt x="118" y="72"/>
                  </a:lnTo>
                  <a:lnTo>
                    <a:pt x="118" y="72"/>
                  </a:lnTo>
                  <a:lnTo>
                    <a:pt x="118" y="73"/>
                  </a:lnTo>
                  <a:lnTo>
                    <a:pt x="118" y="77"/>
                  </a:lnTo>
                  <a:lnTo>
                    <a:pt x="118" y="80"/>
                  </a:lnTo>
                  <a:lnTo>
                    <a:pt x="118" y="81"/>
                  </a:lnTo>
                  <a:lnTo>
                    <a:pt x="118" y="82"/>
                  </a:lnTo>
                  <a:lnTo>
                    <a:pt x="119" y="86"/>
                  </a:lnTo>
                  <a:lnTo>
                    <a:pt x="119" y="89"/>
                  </a:lnTo>
                  <a:lnTo>
                    <a:pt x="119" y="90"/>
                  </a:lnTo>
                  <a:lnTo>
                    <a:pt x="121" y="91"/>
                  </a:lnTo>
                  <a:lnTo>
                    <a:pt x="121" y="95"/>
                  </a:lnTo>
                  <a:lnTo>
                    <a:pt x="122" y="99"/>
                  </a:lnTo>
                  <a:lnTo>
                    <a:pt x="122" y="99"/>
                  </a:lnTo>
                  <a:lnTo>
                    <a:pt x="122" y="100"/>
                  </a:lnTo>
                  <a:lnTo>
                    <a:pt x="123" y="104"/>
                  </a:lnTo>
                  <a:lnTo>
                    <a:pt x="126" y="108"/>
                  </a:lnTo>
                  <a:lnTo>
                    <a:pt x="126" y="108"/>
                  </a:lnTo>
                  <a:lnTo>
                    <a:pt x="126" y="108"/>
                  </a:lnTo>
                  <a:lnTo>
                    <a:pt x="128" y="117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27" y="128"/>
                  </a:lnTo>
                  <a:lnTo>
                    <a:pt x="123" y="135"/>
                  </a:lnTo>
                  <a:lnTo>
                    <a:pt x="121" y="140"/>
                  </a:lnTo>
                  <a:lnTo>
                    <a:pt x="118" y="145"/>
                  </a:lnTo>
                  <a:lnTo>
                    <a:pt x="117" y="152"/>
                  </a:lnTo>
                  <a:lnTo>
                    <a:pt x="117" y="159"/>
                  </a:lnTo>
                  <a:lnTo>
                    <a:pt x="117" y="162"/>
                  </a:lnTo>
                  <a:lnTo>
                    <a:pt x="117" y="166"/>
                  </a:lnTo>
                  <a:lnTo>
                    <a:pt x="117" y="167"/>
                  </a:lnTo>
                  <a:lnTo>
                    <a:pt x="117" y="170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8" y="175"/>
                  </a:lnTo>
                  <a:lnTo>
                    <a:pt x="119" y="177"/>
                  </a:lnTo>
                  <a:lnTo>
                    <a:pt x="119" y="177"/>
                  </a:lnTo>
                  <a:lnTo>
                    <a:pt x="119" y="177"/>
                  </a:lnTo>
                  <a:lnTo>
                    <a:pt x="121" y="184"/>
                  </a:lnTo>
                  <a:lnTo>
                    <a:pt x="125" y="190"/>
                  </a:lnTo>
                  <a:lnTo>
                    <a:pt x="128" y="195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3" y="202"/>
                  </a:lnTo>
                  <a:lnTo>
                    <a:pt x="136" y="202"/>
                  </a:lnTo>
                  <a:lnTo>
                    <a:pt x="136" y="209"/>
                  </a:lnTo>
                  <a:lnTo>
                    <a:pt x="137" y="216"/>
                  </a:lnTo>
                  <a:lnTo>
                    <a:pt x="137" y="217"/>
                  </a:lnTo>
                  <a:lnTo>
                    <a:pt x="137" y="220"/>
                  </a:lnTo>
                  <a:lnTo>
                    <a:pt x="140" y="231"/>
                  </a:lnTo>
                  <a:lnTo>
                    <a:pt x="144" y="241"/>
                  </a:lnTo>
                  <a:lnTo>
                    <a:pt x="146" y="250"/>
                  </a:lnTo>
                  <a:lnTo>
                    <a:pt x="151" y="258"/>
                  </a:lnTo>
                  <a:lnTo>
                    <a:pt x="159" y="268"/>
                  </a:lnTo>
                  <a:lnTo>
                    <a:pt x="168" y="276"/>
                  </a:lnTo>
                  <a:lnTo>
                    <a:pt x="168" y="281"/>
                  </a:lnTo>
                  <a:lnTo>
                    <a:pt x="168" y="312"/>
                  </a:lnTo>
                  <a:lnTo>
                    <a:pt x="168" y="321"/>
                  </a:lnTo>
                  <a:lnTo>
                    <a:pt x="141" y="333"/>
                  </a:lnTo>
                  <a:lnTo>
                    <a:pt x="113" y="345"/>
                  </a:lnTo>
                  <a:lnTo>
                    <a:pt x="86" y="358"/>
                  </a:lnTo>
                  <a:lnTo>
                    <a:pt x="62" y="372"/>
                  </a:lnTo>
                  <a:lnTo>
                    <a:pt x="46" y="381"/>
                  </a:lnTo>
                  <a:lnTo>
                    <a:pt x="33" y="389"/>
                  </a:lnTo>
                  <a:lnTo>
                    <a:pt x="18" y="401"/>
                  </a:lnTo>
                  <a:lnTo>
                    <a:pt x="8" y="410"/>
                  </a:lnTo>
                  <a:lnTo>
                    <a:pt x="4" y="415"/>
                  </a:lnTo>
                  <a:lnTo>
                    <a:pt x="1" y="419"/>
                  </a:lnTo>
                  <a:lnTo>
                    <a:pt x="0" y="421"/>
                  </a:lnTo>
                  <a:lnTo>
                    <a:pt x="0" y="425"/>
                  </a:lnTo>
                  <a:lnTo>
                    <a:pt x="0" y="557"/>
                  </a:lnTo>
                  <a:lnTo>
                    <a:pt x="0" y="561"/>
                  </a:lnTo>
                  <a:lnTo>
                    <a:pt x="2" y="565"/>
                  </a:lnTo>
                  <a:lnTo>
                    <a:pt x="6" y="568"/>
                  </a:lnTo>
                  <a:lnTo>
                    <a:pt x="11" y="569"/>
                  </a:lnTo>
                  <a:lnTo>
                    <a:pt x="348" y="569"/>
                  </a:lnTo>
                  <a:lnTo>
                    <a:pt x="469" y="569"/>
                  </a:lnTo>
                  <a:lnTo>
                    <a:pt x="480" y="569"/>
                  </a:lnTo>
                  <a:lnTo>
                    <a:pt x="480" y="557"/>
                  </a:lnTo>
                  <a:lnTo>
                    <a:pt x="480" y="425"/>
                  </a:lnTo>
                  <a:lnTo>
                    <a:pt x="479" y="421"/>
                  </a:lnTo>
                  <a:lnTo>
                    <a:pt x="476" y="416"/>
                  </a:lnTo>
                  <a:lnTo>
                    <a:pt x="473" y="411"/>
                  </a:lnTo>
                  <a:lnTo>
                    <a:pt x="466" y="405"/>
                  </a:lnTo>
                  <a:lnTo>
                    <a:pt x="449" y="390"/>
                  </a:lnTo>
                  <a:lnTo>
                    <a:pt x="425" y="3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5" name="Group 144"/>
          <p:cNvGrpSpPr/>
          <p:nvPr/>
        </p:nvGrpSpPr>
        <p:grpSpPr>
          <a:xfrm>
            <a:off x="3614363" y="2468580"/>
            <a:ext cx="284163" cy="261938"/>
            <a:chOff x="4313201" y="1920875"/>
            <a:chExt cx="284163" cy="261938"/>
          </a:xfrm>
          <a:solidFill>
            <a:srgbClr val="125680"/>
          </a:solidFill>
          <a:effectLst/>
        </p:grpSpPr>
        <p:sp>
          <p:nvSpPr>
            <p:cNvPr id="146" name="Freeform 3131"/>
            <p:cNvSpPr>
              <a:spLocks/>
            </p:cNvSpPr>
            <p:nvPr/>
          </p:nvSpPr>
          <p:spPr bwMode="auto">
            <a:xfrm>
              <a:off x="4313201" y="1920875"/>
              <a:ext cx="236538" cy="200025"/>
            </a:xfrm>
            <a:custGeom>
              <a:avLst/>
              <a:gdLst>
                <a:gd name="T0" fmla="*/ 599 w 599"/>
                <a:gd name="T1" fmla="*/ 12 h 503"/>
                <a:gd name="T2" fmla="*/ 599 w 599"/>
                <a:gd name="T3" fmla="*/ 7 h 503"/>
                <a:gd name="T4" fmla="*/ 595 w 599"/>
                <a:gd name="T5" fmla="*/ 3 h 503"/>
                <a:gd name="T6" fmla="*/ 592 w 599"/>
                <a:gd name="T7" fmla="*/ 1 h 503"/>
                <a:gd name="T8" fmla="*/ 587 w 599"/>
                <a:gd name="T9" fmla="*/ 0 h 503"/>
                <a:gd name="T10" fmla="*/ 12 w 599"/>
                <a:gd name="T11" fmla="*/ 0 h 503"/>
                <a:gd name="T12" fmla="*/ 8 w 599"/>
                <a:gd name="T13" fmla="*/ 1 h 503"/>
                <a:gd name="T14" fmla="*/ 4 w 599"/>
                <a:gd name="T15" fmla="*/ 3 h 503"/>
                <a:gd name="T16" fmla="*/ 2 w 599"/>
                <a:gd name="T17" fmla="*/ 7 h 503"/>
                <a:gd name="T18" fmla="*/ 0 w 599"/>
                <a:gd name="T19" fmla="*/ 12 h 503"/>
                <a:gd name="T20" fmla="*/ 0 w 599"/>
                <a:gd name="T21" fmla="*/ 371 h 503"/>
                <a:gd name="T22" fmla="*/ 2 w 599"/>
                <a:gd name="T23" fmla="*/ 376 h 503"/>
                <a:gd name="T24" fmla="*/ 4 w 599"/>
                <a:gd name="T25" fmla="*/ 379 h 503"/>
                <a:gd name="T26" fmla="*/ 8 w 599"/>
                <a:gd name="T27" fmla="*/ 382 h 503"/>
                <a:gd name="T28" fmla="*/ 12 w 599"/>
                <a:gd name="T29" fmla="*/ 383 h 503"/>
                <a:gd name="T30" fmla="*/ 96 w 599"/>
                <a:gd name="T31" fmla="*/ 383 h 503"/>
                <a:gd name="T32" fmla="*/ 96 w 599"/>
                <a:gd name="T33" fmla="*/ 490 h 503"/>
                <a:gd name="T34" fmla="*/ 97 w 599"/>
                <a:gd name="T35" fmla="*/ 493 h 503"/>
                <a:gd name="T36" fmla="*/ 98 w 599"/>
                <a:gd name="T37" fmla="*/ 497 h 503"/>
                <a:gd name="T38" fmla="*/ 100 w 599"/>
                <a:gd name="T39" fmla="*/ 499 h 503"/>
                <a:gd name="T40" fmla="*/ 104 w 599"/>
                <a:gd name="T41" fmla="*/ 502 h 503"/>
                <a:gd name="T42" fmla="*/ 106 w 599"/>
                <a:gd name="T43" fmla="*/ 502 h 503"/>
                <a:gd name="T44" fmla="*/ 109 w 599"/>
                <a:gd name="T45" fmla="*/ 503 h 503"/>
                <a:gd name="T46" fmla="*/ 112 w 599"/>
                <a:gd name="T47" fmla="*/ 502 h 503"/>
                <a:gd name="T48" fmla="*/ 117 w 599"/>
                <a:gd name="T49" fmla="*/ 499 h 503"/>
                <a:gd name="T50" fmla="*/ 232 w 599"/>
                <a:gd name="T51" fmla="*/ 383 h 503"/>
                <a:gd name="T52" fmla="*/ 288 w 599"/>
                <a:gd name="T53" fmla="*/ 383 h 503"/>
                <a:gd name="T54" fmla="*/ 288 w 599"/>
                <a:gd name="T55" fmla="*/ 251 h 503"/>
                <a:gd name="T56" fmla="*/ 288 w 599"/>
                <a:gd name="T57" fmla="*/ 246 h 503"/>
                <a:gd name="T58" fmla="*/ 291 w 599"/>
                <a:gd name="T59" fmla="*/ 242 h 503"/>
                <a:gd name="T60" fmla="*/ 295 w 599"/>
                <a:gd name="T61" fmla="*/ 240 h 503"/>
                <a:gd name="T62" fmla="*/ 300 w 599"/>
                <a:gd name="T63" fmla="*/ 239 h 503"/>
                <a:gd name="T64" fmla="*/ 599 w 599"/>
                <a:gd name="T65" fmla="*/ 239 h 503"/>
                <a:gd name="T66" fmla="*/ 599 w 599"/>
                <a:gd name="T67" fmla="*/ 1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9" h="503">
                  <a:moveTo>
                    <a:pt x="599" y="12"/>
                  </a:moveTo>
                  <a:lnTo>
                    <a:pt x="599" y="7"/>
                  </a:lnTo>
                  <a:lnTo>
                    <a:pt x="595" y="3"/>
                  </a:lnTo>
                  <a:lnTo>
                    <a:pt x="592" y="1"/>
                  </a:lnTo>
                  <a:lnTo>
                    <a:pt x="587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2" y="7"/>
                  </a:lnTo>
                  <a:lnTo>
                    <a:pt x="0" y="12"/>
                  </a:lnTo>
                  <a:lnTo>
                    <a:pt x="0" y="371"/>
                  </a:lnTo>
                  <a:lnTo>
                    <a:pt x="2" y="376"/>
                  </a:lnTo>
                  <a:lnTo>
                    <a:pt x="4" y="379"/>
                  </a:lnTo>
                  <a:lnTo>
                    <a:pt x="8" y="382"/>
                  </a:lnTo>
                  <a:lnTo>
                    <a:pt x="12" y="383"/>
                  </a:lnTo>
                  <a:lnTo>
                    <a:pt x="96" y="383"/>
                  </a:lnTo>
                  <a:lnTo>
                    <a:pt x="96" y="490"/>
                  </a:lnTo>
                  <a:lnTo>
                    <a:pt x="97" y="493"/>
                  </a:lnTo>
                  <a:lnTo>
                    <a:pt x="98" y="497"/>
                  </a:lnTo>
                  <a:lnTo>
                    <a:pt x="100" y="499"/>
                  </a:lnTo>
                  <a:lnTo>
                    <a:pt x="104" y="502"/>
                  </a:lnTo>
                  <a:lnTo>
                    <a:pt x="106" y="502"/>
                  </a:lnTo>
                  <a:lnTo>
                    <a:pt x="109" y="503"/>
                  </a:lnTo>
                  <a:lnTo>
                    <a:pt x="112" y="502"/>
                  </a:lnTo>
                  <a:lnTo>
                    <a:pt x="117" y="499"/>
                  </a:lnTo>
                  <a:lnTo>
                    <a:pt x="232" y="383"/>
                  </a:lnTo>
                  <a:lnTo>
                    <a:pt x="288" y="383"/>
                  </a:lnTo>
                  <a:lnTo>
                    <a:pt x="288" y="251"/>
                  </a:lnTo>
                  <a:lnTo>
                    <a:pt x="288" y="246"/>
                  </a:lnTo>
                  <a:lnTo>
                    <a:pt x="291" y="242"/>
                  </a:lnTo>
                  <a:lnTo>
                    <a:pt x="295" y="240"/>
                  </a:lnTo>
                  <a:lnTo>
                    <a:pt x="300" y="239"/>
                  </a:lnTo>
                  <a:lnTo>
                    <a:pt x="599" y="239"/>
                  </a:lnTo>
                  <a:lnTo>
                    <a:pt x="599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3132"/>
            <p:cNvSpPr>
              <a:spLocks/>
            </p:cNvSpPr>
            <p:nvPr/>
          </p:nvSpPr>
          <p:spPr bwMode="auto">
            <a:xfrm>
              <a:off x="4437026" y="2025650"/>
              <a:ext cx="160338" cy="157163"/>
            </a:xfrm>
            <a:custGeom>
              <a:avLst/>
              <a:gdLst>
                <a:gd name="T0" fmla="*/ 395 w 407"/>
                <a:gd name="T1" fmla="*/ 0 h 394"/>
                <a:gd name="T2" fmla="*/ 12 w 407"/>
                <a:gd name="T3" fmla="*/ 0 h 394"/>
                <a:gd name="T4" fmla="*/ 0 w 407"/>
                <a:gd name="T5" fmla="*/ 0 h 394"/>
                <a:gd name="T6" fmla="*/ 0 w 407"/>
                <a:gd name="T7" fmla="*/ 11 h 394"/>
                <a:gd name="T8" fmla="*/ 0 w 407"/>
                <a:gd name="T9" fmla="*/ 252 h 394"/>
                <a:gd name="T10" fmla="*/ 0 w 407"/>
                <a:gd name="T11" fmla="*/ 255 h 394"/>
                <a:gd name="T12" fmla="*/ 4 w 407"/>
                <a:gd name="T13" fmla="*/ 260 h 394"/>
                <a:gd name="T14" fmla="*/ 7 w 407"/>
                <a:gd name="T15" fmla="*/ 262 h 394"/>
                <a:gd name="T16" fmla="*/ 12 w 407"/>
                <a:gd name="T17" fmla="*/ 264 h 394"/>
                <a:gd name="T18" fmla="*/ 193 w 407"/>
                <a:gd name="T19" fmla="*/ 264 h 394"/>
                <a:gd name="T20" fmla="*/ 198 w 407"/>
                <a:gd name="T21" fmla="*/ 264 h 394"/>
                <a:gd name="T22" fmla="*/ 314 w 407"/>
                <a:gd name="T23" fmla="*/ 391 h 394"/>
                <a:gd name="T24" fmla="*/ 319 w 407"/>
                <a:gd name="T25" fmla="*/ 394 h 394"/>
                <a:gd name="T26" fmla="*/ 324 w 407"/>
                <a:gd name="T27" fmla="*/ 394 h 394"/>
                <a:gd name="T28" fmla="*/ 325 w 407"/>
                <a:gd name="T29" fmla="*/ 394 h 394"/>
                <a:gd name="T30" fmla="*/ 327 w 407"/>
                <a:gd name="T31" fmla="*/ 394 h 394"/>
                <a:gd name="T32" fmla="*/ 331 w 407"/>
                <a:gd name="T33" fmla="*/ 392 h 394"/>
                <a:gd name="T34" fmla="*/ 333 w 407"/>
                <a:gd name="T35" fmla="*/ 390 h 394"/>
                <a:gd name="T36" fmla="*/ 334 w 407"/>
                <a:gd name="T37" fmla="*/ 386 h 394"/>
                <a:gd name="T38" fmla="*/ 336 w 407"/>
                <a:gd name="T39" fmla="*/ 383 h 394"/>
                <a:gd name="T40" fmla="*/ 336 w 407"/>
                <a:gd name="T41" fmla="*/ 276 h 394"/>
                <a:gd name="T42" fmla="*/ 336 w 407"/>
                <a:gd name="T43" fmla="*/ 264 h 394"/>
                <a:gd name="T44" fmla="*/ 347 w 407"/>
                <a:gd name="T45" fmla="*/ 264 h 394"/>
                <a:gd name="T46" fmla="*/ 395 w 407"/>
                <a:gd name="T47" fmla="*/ 264 h 394"/>
                <a:gd name="T48" fmla="*/ 400 w 407"/>
                <a:gd name="T49" fmla="*/ 262 h 394"/>
                <a:gd name="T50" fmla="*/ 403 w 407"/>
                <a:gd name="T51" fmla="*/ 260 h 394"/>
                <a:gd name="T52" fmla="*/ 406 w 407"/>
                <a:gd name="T53" fmla="*/ 257 h 394"/>
                <a:gd name="T54" fmla="*/ 407 w 407"/>
                <a:gd name="T55" fmla="*/ 252 h 394"/>
                <a:gd name="T56" fmla="*/ 407 w 407"/>
                <a:gd name="T57" fmla="*/ 11 h 394"/>
                <a:gd name="T58" fmla="*/ 406 w 407"/>
                <a:gd name="T59" fmla="*/ 7 h 394"/>
                <a:gd name="T60" fmla="*/ 403 w 407"/>
                <a:gd name="T61" fmla="*/ 3 h 394"/>
                <a:gd name="T62" fmla="*/ 400 w 407"/>
                <a:gd name="T63" fmla="*/ 1 h 394"/>
                <a:gd name="T64" fmla="*/ 395 w 407"/>
                <a:gd name="T65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7" h="394">
                  <a:moveTo>
                    <a:pt x="395" y="0"/>
                  </a:moveTo>
                  <a:lnTo>
                    <a:pt x="12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0" y="252"/>
                  </a:lnTo>
                  <a:lnTo>
                    <a:pt x="0" y="255"/>
                  </a:lnTo>
                  <a:lnTo>
                    <a:pt x="4" y="260"/>
                  </a:lnTo>
                  <a:lnTo>
                    <a:pt x="7" y="262"/>
                  </a:lnTo>
                  <a:lnTo>
                    <a:pt x="12" y="264"/>
                  </a:lnTo>
                  <a:lnTo>
                    <a:pt x="193" y="264"/>
                  </a:lnTo>
                  <a:lnTo>
                    <a:pt x="198" y="264"/>
                  </a:lnTo>
                  <a:lnTo>
                    <a:pt x="314" y="391"/>
                  </a:lnTo>
                  <a:lnTo>
                    <a:pt x="319" y="394"/>
                  </a:lnTo>
                  <a:lnTo>
                    <a:pt x="324" y="394"/>
                  </a:lnTo>
                  <a:lnTo>
                    <a:pt x="325" y="394"/>
                  </a:lnTo>
                  <a:lnTo>
                    <a:pt x="327" y="394"/>
                  </a:lnTo>
                  <a:lnTo>
                    <a:pt x="331" y="392"/>
                  </a:lnTo>
                  <a:lnTo>
                    <a:pt x="333" y="390"/>
                  </a:lnTo>
                  <a:lnTo>
                    <a:pt x="334" y="386"/>
                  </a:lnTo>
                  <a:lnTo>
                    <a:pt x="336" y="383"/>
                  </a:lnTo>
                  <a:lnTo>
                    <a:pt x="336" y="276"/>
                  </a:lnTo>
                  <a:lnTo>
                    <a:pt x="336" y="264"/>
                  </a:lnTo>
                  <a:lnTo>
                    <a:pt x="347" y="264"/>
                  </a:lnTo>
                  <a:lnTo>
                    <a:pt x="395" y="264"/>
                  </a:lnTo>
                  <a:lnTo>
                    <a:pt x="400" y="262"/>
                  </a:lnTo>
                  <a:lnTo>
                    <a:pt x="403" y="260"/>
                  </a:lnTo>
                  <a:lnTo>
                    <a:pt x="406" y="257"/>
                  </a:lnTo>
                  <a:lnTo>
                    <a:pt x="407" y="252"/>
                  </a:lnTo>
                  <a:lnTo>
                    <a:pt x="407" y="11"/>
                  </a:lnTo>
                  <a:lnTo>
                    <a:pt x="406" y="7"/>
                  </a:lnTo>
                  <a:lnTo>
                    <a:pt x="403" y="3"/>
                  </a:lnTo>
                  <a:lnTo>
                    <a:pt x="400" y="1"/>
                  </a:lnTo>
                  <a:lnTo>
                    <a:pt x="39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8" name="Group 147"/>
          <p:cNvGrpSpPr/>
          <p:nvPr/>
        </p:nvGrpSpPr>
        <p:grpSpPr>
          <a:xfrm>
            <a:off x="1418949" y="2455880"/>
            <a:ext cx="200025" cy="287338"/>
            <a:chOff x="10502900" y="815975"/>
            <a:chExt cx="200025" cy="287338"/>
          </a:xfrm>
          <a:solidFill>
            <a:srgbClr val="125680"/>
          </a:solidFill>
          <a:effectLst/>
        </p:grpSpPr>
        <p:sp>
          <p:nvSpPr>
            <p:cNvPr id="149" name="Freeform 2127"/>
            <p:cNvSpPr>
              <a:spLocks/>
            </p:cNvSpPr>
            <p:nvPr/>
          </p:nvSpPr>
          <p:spPr bwMode="auto">
            <a:xfrm>
              <a:off x="10502900" y="815975"/>
              <a:ext cx="200025" cy="201613"/>
            </a:xfrm>
            <a:custGeom>
              <a:avLst/>
              <a:gdLst>
                <a:gd name="T0" fmla="*/ 284 w 632"/>
                <a:gd name="T1" fmla="*/ 3 h 632"/>
                <a:gd name="T2" fmla="*/ 237 w 632"/>
                <a:gd name="T3" fmla="*/ 10 h 632"/>
                <a:gd name="T4" fmla="*/ 193 w 632"/>
                <a:gd name="T5" fmla="*/ 26 h 632"/>
                <a:gd name="T6" fmla="*/ 152 w 632"/>
                <a:gd name="T7" fmla="*/ 47 h 632"/>
                <a:gd name="T8" fmla="*/ 115 w 632"/>
                <a:gd name="T9" fmla="*/ 72 h 632"/>
                <a:gd name="T10" fmla="*/ 82 w 632"/>
                <a:gd name="T11" fmla="*/ 104 h 632"/>
                <a:gd name="T12" fmla="*/ 54 w 632"/>
                <a:gd name="T13" fmla="*/ 139 h 632"/>
                <a:gd name="T14" fmla="*/ 31 w 632"/>
                <a:gd name="T15" fmla="*/ 180 h 632"/>
                <a:gd name="T16" fmla="*/ 14 w 632"/>
                <a:gd name="T17" fmla="*/ 222 h 632"/>
                <a:gd name="T18" fmla="*/ 4 w 632"/>
                <a:gd name="T19" fmla="*/ 269 h 632"/>
                <a:gd name="T20" fmla="*/ 0 w 632"/>
                <a:gd name="T21" fmla="*/ 316 h 632"/>
                <a:gd name="T22" fmla="*/ 3 w 632"/>
                <a:gd name="T23" fmla="*/ 363 h 632"/>
                <a:gd name="T24" fmla="*/ 14 w 632"/>
                <a:gd name="T25" fmla="*/ 407 h 632"/>
                <a:gd name="T26" fmla="*/ 30 w 632"/>
                <a:gd name="T27" fmla="*/ 450 h 632"/>
                <a:gd name="T28" fmla="*/ 50 w 632"/>
                <a:gd name="T29" fmla="*/ 489 h 632"/>
                <a:gd name="T30" fmla="*/ 77 w 632"/>
                <a:gd name="T31" fmla="*/ 523 h 632"/>
                <a:gd name="T32" fmla="*/ 109 w 632"/>
                <a:gd name="T33" fmla="*/ 555 h 632"/>
                <a:gd name="T34" fmla="*/ 144 w 632"/>
                <a:gd name="T35" fmla="*/ 581 h 632"/>
                <a:gd name="T36" fmla="*/ 183 w 632"/>
                <a:gd name="T37" fmla="*/ 602 h 632"/>
                <a:gd name="T38" fmla="*/ 225 w 632"/>
                <a:gd name="T39" fmla="*/ 618 h 632"/>
                <a:gd name="T40" fmla="*/ 270 w 632"/>
                <a:gd name="T41" fmla="*/ 628 h 632"/>
                <a:gd name="T42" fmla="*/ 301 w 632"/>
                <a:gd name="T43" fmla="*/ 473 h 632"/>
                <a:gd name="T44" fmla="*/ 256 w 632"/>
                <a:gd name="T45" fmla="*/ 512 h 632"/>
                <a:gd name="T46" fmla="*/ 185 w 632"/>
                <a:gd name="T47" fmla="*/ 447 h 632"/>
                <a:gd name="T48" fmla="*/ 181 w 632"/>
                <a:gd name="T49" fmla="*/ 431 h 632"/>
                <a:gd name="T50" fmla="*/ 196 w 632"/>
                <a:gd name="T51" fmla="*/ 421 h 632"/>
                <a:gd name="T52" fmla="*/ 256 w 632"/>
                <a:gd name="T53" fmla="*/ 475 h 632"/>
                <a:gd name="T54" fmla="*/ 309 w 632"/>
                <a:gd name="T55" fmla="*/ 423 h 632"/>
                <a:gd name="T56" fmla="*/ 319 w 632"/>
                <a:gd name="T57" fmla="*/ 421 h 632"/>
                <a:gd name="T58" fmla="*/ 326 w 632"/>
                <a:gd name="T59" fmla="*/ 426 h 632"/>
                <a:gd name="T60" fmla="*/ 430 w 632"/>
                <a:gd name="T61" fmla="*/ 423 h 632"/>
                <a:gd name="T62" fmla="*/ 446 w 632"/>
                <a:gd name="T63" fmla="*/ 426 h 632"/>
                <a:gd name="T64" fmla="*/ 450 w 632"/>
                <a:gd name="T65" fmla="*/ 442 h 632"/>
                <a:gd name="T66" fmla="*/ 381 w 632"/>
                <a:gd name="T67" fmla="*/ 511 h 632"/>
                <a:gd name="T68" fmla="*/ 365 w 632"/>
                <a:gd name="T69" fmla="*/ 507 h 632"/>
                <a:gd name="T70" fmla="*/ 346 w 632"/>
                <a:gd name="T71" fmla="*/ 630 h 632"/>
                <a:gd name="T72" fmla="*/ 391 w 632"/>
                <a:gd name="T73" fmla="*/ 623 h 632"/>
                <a:gd name="T74" fmla="*/ 434 w 632"/>
                <a:gd name="T75" fmla="*/ 608 h 632"/>
                <a:gd name="T76" fmla="*/ 474 w 632"/>
                <a:gd name="T77" fmla="*/ 589 h 632"/>
                <a:gd name="T78" fmla="*/ 511 w 632"/>
                <a:gd name="T79" fmla="*/ 564 h 632"/>
                <a:gd name="T80" fmla="*/ 544 w 632"/>
                <a:gd name="T81" fmla="*/ 534 h 632"/>
                <a:gd name="T82" fmla="*/ 572 w 632"/>
                <a:gd name="T83" fmla="*/ 501 h 632"/>
                <a:gd name="T84" fmla="*/ 595 w 632"/>
                <a:gd name="T85" fmla="*/ 463 h 632"/>
                <a:gd name="T86" fmla="*/ 613 w 632"/>
                <a:gd name="T87" fmla="*/ 421 h 632"/>
                <a:gd name="T88" fmla="*/ 626 w 632"/>
                <a:gd name="T89" fmla="*/ 378 h 632"/>
                <a:gd name="T90" fmla="*/ 631 w 632"/>
                <a:gd name="T91" fmla="*/ 332 h 632"/>
                <a:gd name="T92" fmla="*/ 629 w 632"/>
                <a:gd name="T93" fmla="*/ 283 h 632"/>
                <a:gd name="T94" fmla="*/ 622 w 632"/>
                <a:gd name="T95" fmla="*/ 237 h 632"/>
                <a:gd name="T96" fmla="*/ 606 w 632"/>
                <a:gd name="T97" fmla="*/ 193 h 632"/>
                <a:gd name="T98" fmla="*/ 585 w 632"/>
                <a:gd name="T99" fmla="*/ 153 h 632"/>
                <a:gd name="T100" fmla="*/ 560 w 632"/>
                <a:gd name="T101" fmla="*/ 115 h 632"/>
                <a:gd name="T102" fmla="*/ 528 w 632"/>
                <a:gd name="T103" fmla="*/ 82 h 632"/>
                <a:gd name="T104" fmla="*/ 492 w 632"/>
                <a:gd name="T105" fmla="*/ 54 h 632"/>
                <a:gd name="T106" fmla="*/ 452 w 632"/>
                <a:gd name="T107" fmla="*/ 32 h 632"/>
                <a:gd name="T108" fmla="*/ 409 w 632"/>
                <a:gd name="T109" fmla="*/ 15 h 632"/>
                <a:gd name="T110" fmla="*/ 364 w 632"/>
                <a:gd name="T111" fmla="*/ 4 h 632"/>
                <a:gd name="T112" fmla="*/ 315 w 632"/>
                <a:gd name="T113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32" h="632">
                  <a:moveTo>
                    <a:pt x="315" y="0"/>
                  </a:moveTo>
                  <a:lnTo>
                    <a:pt x="299" y="1"/>
                  </a:lnTo>
                  <a:lnTo>
                    <a:pt x="284" y="3"/>
                  </a:lnTo>
                  <a:lnTo>
                    <a:pt x="268" y="4"/>
                  </a:lnTo>
                  <a:lnTo>
                    <a:pt x="252" y="6"/>
                  </a:lnTo>
                  <a:lnTo>
                    <a:pt x="237" y="10"/>
                  </a:lnTo>
                  <a:lnTo>
                    <a:pt x="221" y="15"/>
                  </a:lnTo>
                  <a:lnTo>
                    <a:pt x="207" y="20"/>
                  </a:lnTo>
                  <a:lnTo>
                    <a:pt x="193" y="26"/>
                  </a:lnTo>
                  <a:lnTo>
                    <a:pt x="179" y="32"/>
                  </a:lnTo>
                  <a:lnTo>
                    <a:pt x="165" y="38"/>
                  </a:lnTo>
                  <a:lnTo>
                    <a:pt x="152" y="47"/>
                  </a:lnTo>
                  <a:lnTo>
                    <a:pt x="139" y="54"/>
                  </a:lnTo>
                  <a:lnTo>
                    <a:pt x="127" y="64"/>
                  </a:lnTo>
                  <a:lnTo>
                    <a:pt x="115" y="72"/>
                  </a:lnTo>
                  <a:lnTo>
                    <a:pt x="103" y="82"/>
                  </a:lnTo>
                  <a:lnTo>
                    <a:pt x="92" y="93"/>
                  </a:lnTo>
                  <a:lnTo>
                    <a:pt x="82" y="104"/>
                  </a:lnTo>
                  <a:lnTo>
                    <a:pt x="72" y="115"/>
                  </a:lnTo>
                  <a:lnTo>
                    <a:pt x="63" y="127"/>
                  </a:lnTo>
                  <a:lnTo>
                    <a:pt x="54" y="139"/>
                  </a:lnTo>
                  <a:lnTo>
                    <a:pt x="45" y="153"/>
                  </a:lnTo>
                  <a:lnTo>
                    <a:pt x="38" y="166"/>
                  </a:lnTo>
                  <a:lnTo>
                    <a:pt x="31" y="180"/>
                  </a:lnTo>
                  <a:lnTo>
                    <a:pt x="25" y="193"/>
                  </a:lnTo>
                  <a:lnTo>
                    <a:pt x="19" y="208"/>
                  </a:lnTo>
                  <a:lnTo>
                    <a:pt x="14" y="222"/>
                  </a:lnTo>
                  <a:lnTo>
                    <a:pt x="10" y="237"/>
                  </a:lnTo>
                  <a:lnTo>
                    <a:pt x="6" y="253"/>
                  </a:lnTo>
                  <a:lnTo>
                    <a:pt x="4" y="269"/>
                  </a:lnTo>
                  <a:lnTo>
                    <a:pt x="1" y="283"/>
                  </a:lnTo>
                  <a:lnTo>
                    <a:pt x="0" y="301"/>
                  </a:lnTo>
                  <a:lnTo>
                    <a:pt x="0" y="316"/>
                  </a:lnTo>
                  <a:lnTo>
                    <a:pt x="0" y="332"/>
                  </a:lnTo>
                  <a:lnTo>
                    <a:pt x="1" y="347"/>
                  </a:lnTo>
                  <a:lnTo>
                    <a:pt x="3" y="363"/>
                  </a:lnTo>
                  <a:lnTo>
                    <a:pt x="6" y="378"/>
                  </a:lnTo>
                  <a:lnTo>
                    <a:pt x="9" y="393"/>
                  </a:lnTo>
                  <a:lnTo>
                    <a:pt x="14" y="407"/>
                  </a:lnTo>
                  <a:lnTo>
                    <a:pt x="17" y="421"/>
                  </a:lnTo>
                  <a:lnTo>
                    <a:pt x="23" y="436"/>
                  </a:lnTo>
                  <a:lnTo>
                    <a:pt x="30" y="450"/>
                  </a:lnTo>
                  <a:lnTo>
                    <a:pt x="36" y="463"/>
                  </a:lnTo>
                  <a:lnTo>
                    <a:pt x="43" y="475"/>
                  </a:lnTo>
                  <a:lnTo>
                    <a:pt x="50" y="489"/>
                  </a:lnTo>
                  <a:lnTo>
                    <a:pt x="59" y="501"/>
                  </a:lnTo>
                  <a:lnTo>
                    <a:pt x="69" y="512"/>
                  </a:lnTo>
                  <a:lnTo>
                    <a:pt x="77" y="523"/>
                  </a:lnTo>
                  <a:lnTo>
                    <a:pt x="87" y="534"/>
                  </a:lnTo>
                  <a:lnTo>
                    <a:pt x="98" y="545"/>
                  </a:lnTo>
                  <a:lnTo>
                    <a:pt x="109" y="555"/>
                  </a:lnTo>
                  <a:lnTo>
                    <a:pt x="120" y="564"/>
                  </a:lnTo>
                  <a:lnTo>
                    <a:pt x="132" y="573"/>
                  </a:lnTo>
                  <a:lnTo>
                    <a:pt x="144" y="581"/>
                  </a:lnTo>
                  <a:lnTo>
                    <a:pt x="157" y="589"/>
                  </a:lnTo>
                  <a:lnTo>
                    <a:pt x="170" y="596"/>
                  </a:lnTo>
                  <a:lnTo>
                    <a:pt x="183" y="602"/>
                  </a:lnTo>
                  <a:lnTo>
                    <a:pt x="197" y="608"/>
                  </a:lnTo>
                  <a:lnTo>
                    <a:pt x="210" y="613"/>
                  </a:lnTo>
                  <a:lnTo>
                    <a:pt x="225" y="618"/>
                  </a:lnTo>
                  <a:lnTo>
                    <a:pt x="240" y="623"/>
                  </a:lnTo>
                  <a:lnTo>
                    <a:pt x="254" y="625"/>
                  </a:lnTo>
                  <a:lnTo>
                    <a:pt x="270" y="628"/>
                  </a:lnTo>
                  <a:lnTo>
                    <a:pt x="285" y="630"/>
                  </a:lnTo>
                  <a:lnTo>
                    <a:pt x="301" y="632"/>
                  </a:lnTo>
                  <a:lnTo>
                    <a:pt x="301" y="473"/>
                  </a:lnTo>
                  <a:lnTo>
                    <a:pt x="267" y="507"/>
                  </a:lnTo>
                  <a:lnTo>
                    <a:pt x="262" y="511"/>
                  </a:lnTo>
                  <a:lnTo>
                    <a:pt x="256" y="512"/>
                  </a:lnTo>
                  <a:lnTo>
                    <a:pt x="249" y="511"/>
                  </a:lnTo>
                  <a:lnTo>
                    <a:pt x="245" y="507"/>
                  </a:lnTo>
                  <a:lnTo>
                    <a:pt x="185" y="447"/>
                  </a:lnTo>
                  <a:lnTo>
                    <a:pt x="181" y="442"/>
                  </a:lnTo>
                  <a:lnTo>
                    <a:pt x="180" y="436"/>
                  </a:lnTo>
                  <a:lnTo>
                    <a:pt x="181" y="431"/>
                  </a:lnTo>
                  <a:lnTo>
                    <a:pt x="185" y="426"/>
                  </a:lnTo>
                  <a:lnTo>
                    <a:pt x="190" y="423"/>
                  </a:lnTo>
                  <a:lnTo>
                    <a:pt x="196" y="421"/>
                  </a:lnTo>
                  <a:lnTo>
                    <a:pt x="201" y="423"/>
                  </a:lnTo>
                  <a:lnTo>
                    <a:pt x="205" y="426"/>
                  </a:lnTo>
                  <a:lnTo>
                    <a:pt x="256" y="475"/>
                  </a:lnTo>
                  <a:lnTo>
                    <a:pt x="304" y="426"/>
                  </a:lnTo>
                  <a:lnTo>
                    <a:pt x="307" y="424"/>
                  </a:lnTo>
                  <a:lnTo>
                    <a:pt x="309" y="423"/>
                  </a:lnTo>
                  <a:lnTo>
                    <a:pt x="313" y="421"/>
                  </a:lnTo>
                  <a:lnTo>
                    <a:pt x="315" y="421"/>
                  </a:lnTo>
                  <a:lnTo>
                    <a:pt x="319" y="421"/>
                  </a:lnTo>
                  <a:lnTo>
                    <a:pt x="321" y="423"/>
                  </a:lnTo>
                  <a:lnTo>
                    <a:pt x="324" y="424"/>
                  </a:lnTo>
                  <a:lnTo>
                    <a:pt x="326" y="426"/>
                  </a:lnTo>
                  <a:lnTo>
                    <a:pt x="375" y="475"/>
                  </a:lnTo>
                  <a:lnTo>
                    <a:pt x="425" y="426"/>
                  </a:lnTo>
                  <a:lnTo>
                    <a:pt x="430" y="423"/>
                  </a:lnTo>
                  <a:lnTo>
                    <a:pt x="436" y="421"/>
                  </a:lnTo>
                  <a:lnTo>
                    <a:pt x="441" y="423"/>
                  </a:lnTo>
                  <a:lnTo>
                    <a:pt x="446" y="426"/>
                  </a:lnTo>
                  <a:lnTo>
                    <a:pt x="450" y="431"/>
                  </a:lnTo>
                  <a:lnTo>
                    <a:pt x="451" y="436"/>
                  </a:lnTo>
                  <a:lnTo>
                    <a:pt x="450" y="442"/>
                  </a:lnTo>
                  <a:lnTo>
                    <a:pt x="446" y="447"/>
                  </a:lnTo>
                  <a:lnTo>
                    <a:pt x="386" y="507"/>
                  </a:lnTo>
                  <a:lnTo>
                    <a:pt x="381" y="511"/>
                  </a:lnTo>
                  <a:lnTo>
                    <a:pt x="375" y="512"/>
                  </a:lnTo>
                  <a:lnTo>
                    <a:pt x="370" y="511"/>
                  </a:lnTo>
                  <a:lnTo>
                    <a:pt x="365" y="507"/>
                  </a:lnTo>
                  <a:lnTo>
                    <a:pt x="330" y="473"/>
                  </a:lnTo>
                  <a:lnTo>
                    <a:pt x="330" y="632"/>
                  </a:lnTo>
                  <a:lnTo>
                    <a:pt x="346" y="630"/>
                  </a:lnTo>
                  <a:lnTo>
                    <a:pt x="362" y="628"/>
                  </a:lnTo>
                  <a:lnTo>
                    <a:pt x="376" y="625"/>
                  </a:lnTo>
                  <a:lnTo>
                    <a:pt x="391" y="623"/>
                  </a:lnTo>
                  <a:lnTo>
                    <a:pt x="406" y="618"/>
                  </a:lnTo>
                  <a:lnTo>
                    <a:pt x="420" y="613"/>
                  </a:lnTo>
                  <a:lnTo>
                    <a:pt x="434" y="608"/>
                  </a:lnTo>
                  <a:lnTo>
                    <a:pt x="449" y="602"/>
                  </a:lnTo>
                  <a:lnTo>
                    <a:pt x="462" y="596"/>
                  </a:lnTo>
                  <a:lnTo>
                    <a:pt x="474" y="589"/>
                  </a:lnTo>
                  <a:lnTo>
                    <a:pt x="488" y="581"/>
                  </a:lnTo>
                  <a:lnTo>
                    <a:pt x="500" y="573"/>
                  </a:lnTo>
                  <a:lnTo>
                    <a:pt x="511" y="564"/>
                  </a:lnTo>
                  <a:lnTo>
                    <a:pt x="522" y="555"/>
                  </a:lnTo>
                  <a:lnTo>
                    <a:pt x="533" y="545"/>
                  </a:lnTo>
                  <a:lnTo>
                    <a:pt x="544" y="534"/>
                  </a:lnTo>
                  <a:lnTo>
                    <a:pt x="554" y="523"/>
                  </a:lnTo>
                  <a:lnTo>
                    <a:pt x="563" y="512"/>
                  </a:lnTo>
                  <a:lnTo>
                    <a:pt x="572" y="501"/>
                  </a:lnTo>
                  <a:lnTo>
                    <a:pt x="580" y="489"/>
                  </a:lnTo>
                  <a:lnTo>
                    <a:pt x="588" y="475"/>
                  </a:lnTo>
                  <a:lnTo>
                    <a:pt x="595" y="463"/>
                  </a:lnTo>
                  <a:lnTo>
                    <a:pt x="602" y="450"/>
                  </a:lnTo>
                  <a:lnTo>
                    <a:pt x="609" y="436"/>
                  </a:lnTo>
                  <a:lnTo>
                    <a:pt x="613" y="421"/>
                  </a:lnTo>
                  <a:lnTo>
                    <a:pt x="618" y="408"/>
                  </a:lnTo>
                  <a:lnTo>
                    <a:pt x="622" y="393"/>
                  </a:lnTo>
                  <a:lnTo>
                    <a:pt x="626" y="378"/>
                  </a:lnTo>
                  <a:lnTo>
                    <a:pt x="628" y="363"/>
                  </a:lnTo>
                  <a:lnTo>
                    <a:pt x="631" y="347"/>
                  </a:lnTo>
                  <a:lnTo>
                    <a:pt x="631" y="332"/>
                  </a:lnTo>
                  <a:lnTo>
                    <a:pt x="632" y="316"/>
                  </a:lnTo>
                  <a:lnTo>
                    <a:pt x="631" y="301"/>
                  </a:lnTo>
                  <a:lnTo>
                    <a:pt x="629" y="283"/>
                  </a:lnTo>
                  <a:lnTo>
                    <a:pt x="628" y="269"/>
                  </a:lnTo>
                  <a:lnTo>
                    <a:pt x="626" y="253"/>
                  </a:lnTo>
                  <a:lnTo>
                    <a:pt x="622" y="237"/>
                  </a:lnTo>
                  <a:lnTo>
                    <a:pt x="617" y="222"/>
                  </a:lnTo>
                  <a:lnTo>
                    <a:pt x="612" y="208"/>
                  </a:lnTo>
                  <a:lnTo>
                    <a:pt x="606" y="193"/>
                  </a:lnTo>
                  <a:lnTo>
                    <a:pt x="600" y="180"/>
                  </a:lnTo>
                  <a:lnTo>
                    <a:pt x="594" y="166"/>
                  </a:lnTo>
                  <a:lnTo>
                    <a:pt x="585" y="153"/>
                  </a:lnTo>
                  <a:lnTo>
                    <a:pt x="578" y="139"/>
                  </a:lnTo>
                  <a:lnTo>
                    <a:pt x="568" y="127"/>
                  </a:lnTo>
                  <a:lnTo>
                    <a:pt x="560" y="115"/>
                  </a:lnTo>
                  <a:lnTo>
                    <a:pt x="550" y="104"/>
                  </a:lnTo>
                  <a:lnTo>
                    <a:pt x="539" y="93"/>
                  </a:lnTo>
                  <a:lnTo>
                    <a:pt x="528" y="82"/>
                  </a:lnTo>
                  <a:lnTo>
                    <a:pt x="517" y="72"/>
                  </a:lnTo>
                  <a:lnTo>
                    <a:pt x="505" y="64"/>
                  </a:lnTo>
                  <a:lnTo>
                    <a:pt x="492" y="54"/>
                  </a:lnTo>
                  <a:lnTo>
                    <a:pt x="479" y="47"/>
                  </a:lnTo>
                  <a:lnTo>
                    <a:pt x="466" y="38"/>
                  </a:lnTo>
                  <a:lnTo>
                    <a:pt x="452" y="32"/>
                  </a:lnTo>
                  <a:lnTo>
                    <a:pt x="439" y="26"/>
                  </a:lnTo>
                  <a:lnTo>
                    <a:pt x="424" y="20"/>
                  </a:lnTo>
                  <a:lnTo>
                    <a:pt x="409" y="15"/>
                  </a:lnTo>
                  <a:lnTo>
                    <a:pt x="395" y="10"/>
                  </a:lnTo>
                  <a:lnTo>
                    <a:pt x="379" y="6"/>
                  </a:lnTo>
                  <a:lnTo>
                    <a:pt x="364" y="4"/>
                  </a:lnTo>
                  <a:lnTo>
                    <a:pt x="348" y="3"/>
                  </a:lnTo>
                  <a:lnTo>
                    <a:pt x="331" y="1"/>
                  </a:lnTo>
                  <a:lnTo>
                    <a:pt x="3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2128"/>
            <p:cNvSpPr>
              <a:spLocks/>
            </p:cNvSpPr>
            <p:nvPr/>
          </p:nvSpPr>
          <p:spPr bwMode="auto">
            <a:xfrm>
              <a:off x="10569575" y="1036638"/>
              <a:ext cx="66675" cy="9525"/>
            </a:xfrm>
            <a:custGeom>
              <a:avLst/>
              <a:gdLst>
                <a:gd name="T0" fmla="*/ 196 w 210"/>
                <a:gd name="T1" fmla="*/ 0 h 29"/>
                <a:gd name="T2" fmla="*/ 15 w 210"/>
                <a:gd name="T3" fmla="*/ 0 h 29"/>
                <a:gd name="T4" fmla="*/ 9 w 210"/>
                <a:gd name="T5" fmla="*/ 1 h 29"/>
                <a:gd name="T6" fmla="*/ 5 w 210"/>
                <a:gd name="T7" fmla="*/ 3 h 29"/>
                <a:gd name="T8" fmla="*/ 2 w 210"/>
                <a:gd name="T9" fmla="*/ 8 h 29"/>
                <a:gd name="T10" fmla="*/ 0 w 210"/>
                <a:gd name="T11" fmla="*/ 14 h 29"/>
                <a:gd name="T12" fmla="*/ 2 w 210"/>
                <a:gd name="T13" fmla="*/ 20 h 29"/>
                <a:gd name="T14" fmla="*/ 5 w 210"/>
                <a:gd name="T15" fmla="*/ 25 h 29"/>
                <a:gd name="T16" fmla="*/ 9 w 210"/>
                <a:gd name="T17" fmla="*/ 28 h 29"/>
                <a:gd name="T18" fmla="*/ 15 w 210"/>
                <a:gd name="T19" fmla="*/ 29 h 29"/>
                <a:gd name="T20" fmla="*/ 196 w 210"/>
                <a:gd name="T21" fmla="*/ 29 h 29"/>
                <a:gd name="T22" fmla="*/ 202 w 210"/>
                <a:gd name="T23" fmla="*/ 28 h 29"/>
                <a:gd name="T24" fmla="*/ 207 w 210"/>
                <a:gd name="T25" fmla="*/ 25 h 29"/>
                <a:gd name="T26" fmla="*/ 209 w 210"/>
                <a:gd name="T27" fmla="*/ 20 h 29"/>
                <a:gd name="T28" fmla="*/ 210 w 210"/>
                <a:gd name="T29" fmla="*/ 14 h 29"/>
                <a:gd name="T30" fmla="*/ 209 w 210"/>
                <a:gd name="T31" fmla="*/ 8 h 29"/>
                <a:gd name="T32" fmla="*/ 207 w 210"/>
                <a:gd name="T33" fmla="*/ 3 h 29"/>
                <a:gd name="T34" fmla="*/ 202 w 210"/>
                <a:gd name="T35" fmla="*/ 1 h 29"/>
                <a:gd name="T36" fmla="*/ 196 w 210"/>
                <a:gd name="T3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0" h="29">
                  <a:moveTo>
                    <a:pt x="196" y="0"/>
                  </a:moveTo>
                  <a:lnTo>
                    <a:pt x="15" y="0"/>
                  </a:lnTo>
                  <a:lnTo>
                    <a:pt x="9" y="1"/>
                  </a:lnTo>
                  <a:lnTo>
                    <a:pt x="5" y="3"/>
                  </a:lnTo>
                  <a:lnTo>
                    <a:pt x="2" y="8"/>
                  </a:lnTo>
                  <a:lnTo>
                    <a:pt x="0" y="14"/>
                  </a:lnTo>
                  <a:lnTo>
                    <a:pt x="2" y="20"/>
                  </a:lnTo>
                  <a:lnTo>
                    <a:pt x="5" y="25"/>
                  </a:lnTo>
                  <a:lnTo>
                    <a:pt x="9" y="28"/>
                  </a:lnTo>
                  <a:lnTo>
                    <a:pt x="15" y="29"/>
                  </a:lnTo>
                  <a:lnTo>
                    <a:pt x="196" y="29"/>
                  </a:lnTo>
                  <a:lnTo>
                    <a:pt x="202" y="28"/>
                  </a:lnTo>
                  <a:lnTo>
                    <a:pt x="207" y="25"/>
                  </a:lnTo>
                  <a:lnTo>
                    <a:pt x="209" y="20"/>
                  </a:lnTo>
                  <a:lnTo>
                    <a:pt x="210" y="14"/>
                  </a:lnTo>
                  <a:lnTo>
                    <a:pt x="209" y="8"/>
                  </a:lnTo>
                  <a:lnTo>
                    <a:pt x="207" y="3"/>
                  </a:lnTo>
                  <a:lnTo>
                    <a:pt x="202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2129"/>
            <p:cNvSpPr>
              <a:spLocks/>
            </p:cNvSpPr>
            <p:nvPr/>
          </p:nvSpPr>
          <p:spPr bwMode="auto">
            <a:xfrm>
              <a:off x="10569575" y="1055688"/>
              <a:ext cx="66675" cy="9525"/>
            </a:xfrm>
            <a:custGeom>
              <a:avLst/>
              <a:gdLst>
                <a:gd name="T0" fmla="*/ 196 w 210"/>
                <a:gd name="T1" fmla="*/ 0 h 31"/>
                <a:gd name="T2" fmla="*/ 15 w 210"/>
                <a:gd name="T3" fmla="*/ 0 h 31"/>
                <a:gd name="T4" fmla="*/ 9 w 210"/>
                <a:gd name="T5" fmla="*/ 2 h 31"/>
                <a:gd name="T6" fmla="*/ 5 w 210"/>
                <a:gd name="T7" fmla="*/ 5 h 31"/>
                <a:gd name="T8" fmla="*/ 2 w 210"/>
                <a:gd name="T9" fmla="*/ 10 h 31"/>
                <a:gd name="T10" fmla="*/ 0 w 210"/>
                <a:gd name="T11" fmla="*/ 15 h 31"/>
                <a:gd name="T12" fmla="*/ 2 w 210"/>
                <a:gd name="T13" fmla="*/ 21 h 31"/>
                <a:gd name="T14" fmla="*/ 5 w 210"/>
                <a:gd name="T15" fmla="*/ 26 h 31"/>
                <a:gd name="T16" fmla="*/ 9 w 210"/>
                <a:gd name="T17" fmla="*/ 30 h 31"/>
                <a:gd name="T18" fmla="*/ 15 w 210"/>
                <a:gd name="T19" fmla="*/ 31 h 31"/>
                <a:gd name="T20" fmla="*/ 196 w 210"/>
                <a:gd name="T21" fmla="*/ 31 h 31"/>
                <a:gd name="T22" fmla="*/ 202 w 210"/>
                <a:gd name="T23" fmla="*/ 30 h 31"/>
                <a:gd name="T24" fmla="*/ 207 w 210"/>
                <a:gd name="T25" fmla="*/ 26 h 31"/>
                <a:gd name="T26" fmla="*/ 209 w 210"/>
                <a:gd name="T27" fmla="*/ 21 h 31"/>
                <a:gd name="T28" fmla="*/ 210 w 210"/>
                <a:gd name="T29" fmla="*/ 15 h 31"/>
                <a:gd name="T30" fmla="*/ 209 w 210"/>
                <a:gd name="T31" fmla="*/ 10 h 31"/>
                <a:gd name="T32" fmla="*/ 207 w 210"/>
                <a:gd name="T33" fmla="*/ 5 h 31"/>
                <a:gd name="T34" fmla="*/ 202 w 210"/>
                <a:gd name="T35" fmla="*/ 2 h 31"/>
                <a:gd name="T36" fmla="*/ 196 w 21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0" h="31">
                  <a:moveTo>
                    <a:pt x="196" y="0"/>
                  </a:moveTo>
                  <a:lnTo>
                    <a:pt x="15" y="0"/>
                  </a:lnTo>
                  <a:lnTo>
                    <a:pt x="9" y="2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5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196" y="31"/>
                  </a:lnTo>
                  <a:lnTo>
                    <a:pt x="202" y="30"/>
                  </a:lnTo>
                  <a:lnTo>
                    <a:pt x="207" y="26"/>
                  </a:lnTo>
                  <a:lnTo>
                    <a:pt x="209" y="21"/>
                  </a:lnTo>
                  <a:lnTo>
                    <a:pt x="210" y="15"/>
                  </a:lnTo>
                  <a:lnTo>
                    <a:pt x="209" y="10"/>
                  </a:lnTo>
                  <a:lnTo>
                    <a:pt x="207" y="5"/>
                  </a:lnTo>
                  <a:lnTo>
                    <a:pt x="202" y="2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2130"/>
            <p:cNvSpPr>
              <a:spLocks/>
            </p:cNvSpPr>
            <p:nvPr/>
          </p:nvSpPr>
          <p:spPr bwMode="auto">
            <a:xfrm>
              <a:off x="10569575" y="1074738"/>
              <a:ext cx="66675" cy="28575"/>
            </a:xfrm>
            <a:custGeom>
              <a:avLst/>
              <a:gdLst>
                <a:gd name="T0" fmla="*/ 196 w 210"/>
                <a:gd name="T1" fmla="*/ 0 h 91"/>
                <a:gd name="T2" fmla="*/ 15 w 210"/>
                <a:gd name="T3" fmla="*/ 0 h 91"/>
                <a:gd name="T4" fmla="*/ 9 w 210"/>
                <a:gd name="T5" fmla="*/ 1 h 91"/>
                <a:gd name="T6" fmla="*/ 5 w 210"/>
                <a:gd name="T7" fmla="*/ 5 h 91"/>
                <a:gd name="T8" fmla="*/ 2 w 210"/>
                <a:gd name="T9" fmla="*/ 10 h 91"/>
                <a:gd name="T10" fmla="*/ 0 w 210"/>
                <a:gd name="T11" fmla="*/ 16 h 91"/>
                <a:gd name="T12" fmla="*/ 2 w 210"/>
                <a:gd name="T13" fmla="*/ 21 h 91"/>
                <a:gd name="T14" fmla="*/ 5 w 210"/>
                <a:gd name="T15" fmla="*/ 26 h 91"/>
                <a:gd name="T16" fmla="*/ 9 w 210"/>
                <a:gd name="T17" fmla="*/ 30 h 91"/>
                <a:gd name="T18" fmla="*/ 15 w 210"/>
                <a:gd name="T19" fmla="*/ 31 h 91"/>
                <a:gd name="T20" fmla="*/ 91 w 210"/>
                <a:gd name="T21" fmla="*/ 31 h 91"/>
                <a:gd name="T22" fmla="*/ 91 w 210"/>
                <a:gd name="T23" fmla="*/ 76 h 91"/>
                <a:gd name="T24" fmla="*/ 92 w 210"/>
                <a:gd name="T25" fmla="*/ 82 h 91"/>
                <a:gd name="T26" fmla="*/ 94 w 210"/>
                <a:gd name="T27" fmla="*/ 87 h 91"/>
                <a:gd name="T28" fmla="*/ 99 w 210"/>
                <a:gd name="T29" fmla="*/ 89 h 91"/>
                <a:gd name="T30" fmla="*/ 105 w 210"/>
                <a:gd name="T31" fmla="*/ 91 h 91"/>
                <a:gd name="T32" fmla="*/ 111 w 210"/>
                <a:gd name="T33" fmla="*/ 89 h 91"/>
                <a:gd name="T34" fmla="*/ 116 w 210"/>
                <a:gd name="T35" fmla="*/ 87 h 91"/>
                <a:gd name="T36" fmla="*/ 120 w 210"/>
                <a:gd name="T37" fmla="*/ 82 h 91"/>
                <a:gd name="T38" fmla="*/ 120 w 210"/>
                <a:gd name="T39" fmla="*/ 76 h 91"/>
                <a:gd name="T40" fmla="*/ 120 w 210"/>
                <a:gd name="T41" fmla="*/ 31 h 91"/>
                <a:gd name="T42" fmla="*/ 196 w 210"/>
                <a:gd name="T43" fmla="*/ 31 h 91"/>
                <a:gd name="T44" fmla="*/ 202 w 210"/>
                <a:gd name="T45" fmla="*/ 30 h 91"/>
                <a:gd name="T46" fmla="*/ 207 w 210"/>
                <a:gd name="T47" fmla="*/ 26 h 91"/>
                <a:gd name="T48" fmla="*/ 209 w 210"/>
                <a:gd name="T49" fmla="*/ 21 h 91"/>
                <a:gd name="T50" fmla="*/ 210 w 210"/>
                <a:gd name="T51" fmla="*/ 16 h 91"/>
                <a:gd name="T52" fmla="*/ 209 w 210"/>
                <a:gd name="T53" fmla="*/ 10 h 91"/>
                <a:gd name="T54" fmla="*/ 207 w 210"/>
                <a:gd name="T55" fmla="*/ 5 h 91"/>
                <a:gd name="T56" fmla="*/ 202 w 210"/>
                <a:gd name="T57" fmla="*/ 1 h 91"/>
                <a:gd name="T58" fmla="*/ 196 w 210"/>
                <a:gd name="T5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10" h="91">
                  <a:moveTo>
                    <a:pt x="196" y="0"/>
                  </a:moveTo>
                  <a:lnTo>
                    <a:pt x="15" y="0"/>
                  </a:lnTo>
                  <a:lnTo>
                    <a:pt x="9" y="1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91" y="31"/>
                  </a:lnTo>
                  <a:lnTo>
                    <a:pt x="91" y="76"/>
                  </a:lnTo>
                  <a:lnTo>
                    <a:pt x="92" y="82"/>
                  </a:lnTo>
                  <a:lnTo>
                    <a:pt x="94" y="87"/>
                  </a:lnTo>
                  <a:lnTo>
                    <a:pt x="99" y="89"/>
                  </a:lnTo>
                  <a:lnTo>
                    <a:pt x="105" y="91"/>
                  </a:lnTo>
                  <a:lnTo>
                    <a:pt x="111" y="89"/>
                  </a:lnTo>
                  <a:lnTo>
                    <a:pt x="116" y="87"/>
                  </a:lnTo>
                  <a:lnTo>
                    <a:pt x="120" y="82"/>
                  </a:lnTo>
                  <a:lnTo>
                    <a:pt x="120" y="76"/>
                  </a:lnTo>
                  <a:lnTo>
                    <a:pt x="120" y="31"/>
                  </a:lnTo>
                  <a:lnTo>
                    <a:pt x="196" y="31"/>
                  </a:lnTo>
                  <a:lnTo>
                    <a:pt x="202" y="30"/>
                  </a:lnTo>
                  <a:lnTo>
                    <a:pt x="207" y="26"/>
                  </a:lnTo>
                  <a:lnTo>
                    <a:pt x="209" y="21"/>
                  </a:lnTo>
                  <a:lnTo>
                    <a:pt x="210" y="16"/>
                  </a:lnTo>
                  <a:lnTo>
                    <a:pt x="209" y="10"/>
                  </a:lnTo>
                  <a:lnTo>
                    <a:pt x="207" y="5"/>
                  </a:lnTo>
                  <a:lnTo>
                    <a:pt x="202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5" name="Text Placeholder 2"/>
          <p:cNvSpPr txBox="1">
            <a:spLocks/>
          </p:cNvSpPr>
          <p:nvPr/>
        </p:nvSpPr>
        <p:spPr>
          <a:xfrm>
            <a:off x="814298" y="4435405"/>
            <a:ext cx="1751524" cy="8494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rdapat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dalam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folder Screen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gunakan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bagai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omponen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endukung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pada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mpilan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tau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creen  </a:t>
            </a:r>
          </a:p>
        </p:txBody>
      </p:sp>
      <p:sp>
        <p:nvSpPr>
          <p:cNvPr id="156" name="TextBox 155"/>
          <p:cNvSpPr txBox="1"/>
          <p:nvPr/>
        </p:nvSpPr>
        <p:spPr>
          <a:xfrm>
            <a:off x="814298" y="4015913"/>
            <a:ext cx="1751524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cy-GB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Widget</a:t>
            </a:r>
            <a:endParaRPr lang="en-US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57" name="Text Placeholder 2"/>
          <p:cNvSpPr txBox="1">
            <a:spLocks/>
          </p:cNvSpPr>
          <p:nvPr/>
        </p:nvSpPr>
        <p:spPr>
          <a:xfrm>
            <a:off x="3064292" y="4435405"/>
            <a:ext cx="1751524" cy="8494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buah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ondasi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ata yang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gunakan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untuk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ngolah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eberapa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al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perti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nampung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input </a:t>
            </a:r>
          </a:p>
        </p:txBody>
      </p:sp>
      <p:sp>
        <p:nvSpPr>
          <p:cNvPr id="158" name="TextBox 157"/>
          <p:cNvSpPr txBox="1"/>
          <p:nvPr/>
        </p:nvSpPr>
        <p:spPr>
          <a:xfrm>
            <a:off x="3064292" y="4015913"/>
            <a:ext cx="1751524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cy-GB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Models</a:t>
            </a:r>
            <a:endParaRPr lang="en-US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59" name="Text Placeholder 2"/>
          <p:cNvSpPr txBox="1">
            <a:spLocks/>
          </p:cNvSpPr>
          <p:nvPr/>
        </p:nvSpPr>
        <p:spPr>
          <a:xfrm>
            <a:off x="5299676" y="4435405"/>
            <a:ext cx="1751524" cy="8494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rdapat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dalam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folder service yang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gunakan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untuk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managemen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tau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ngolah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tate</a:t>
            </a:r>
          </a:p>
        </p:txBody>
      </p:sp>
      <p:sp>
        <p:nvSpPr>
          <p:cNvPr id="160" name="TextBox 159"/>
          <p:cNvSpPr txBox="1"/>
          <p:nvPr/>
        </p:nvSpPr>
        <p:spPr>
          <a:xfrm>
            <a:off x="5299676" y="4015913"/>
            <a:ext cx="1751524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cy-GB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Provider</a:t>
            </a:r>
            <a:endParaRPr lang="en-US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61" name="Text Placeholder 2"/>
          <p:cNvSpPr txBox="1">
            <a:spLocks/>
          </p:cNvSpPr>
          <p:nvPr/>
        </p:nvSpPr>
        <p:spPr>
          <a:xfrm>
            <a:off x="7535060" y="4435405"/>
            <a:ext cx="1751524" cy="6314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perti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Namanya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gunakan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alam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mpilan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uatu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plikasi</a:t>
            </a:r>
            <a:endParaRPr lang="en-US" dirty="0">
              <a:solidFill>
                <a:srgbClr val="B0F7F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2" name="TextBox 161"/>
          <p:cNvSpPr txBox="1"/>
          <p:nvPr/>
        </p:nvSpPr>
        <p:spPr>
          <a:xfrm>
            <a:off x="7535060" y="4015913"/>
            <a:ext cx="1751524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cy-GB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Screen</a:t>
            </a:r>
            <a:endParaRPr lang="en-US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63" name="Text Placeholder 2"/>
          <p:cNvSpPr txBox="1">
            <a:spLocks/>
          </p:cNvSpPr>
          <p:nvPr/>
        </p:nvSpPr>
        <p:spPr>
          <a:xfrm>
            <a:off x="9779288" y="4435405"/>
            <a:ext cx="1751524" cy="8494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buah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folder yang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dalamnya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rdapat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erbagai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ervice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perti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atabase dan provider</a:t>
            </a:r>
          </a:p>
        </p:txBody>
      </p:sp>
      <p:sp>
        <p:nvSpPr>
          <p:cNvPr id="164" name="TextBox 163"/>
          <p:cNvSpPr txBox="1"/>
          <p:nvPr/>
        </p:nvSpPr>
        <p:spPr>
          <a:xfrm>
            <a:off x="9779288" y="4015913"/>
            <a:ext cx="1751524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cy-GB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Service</a:t>
            </a:r>
            <a:endParaRPr lang="en-US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2D173F6-F175-5CF1-DE8D-D5B179D8CB79}"/>
              </a:ext>
            </a:extLst>
          </p:cNvPr>
          <p:cNvGrpSpPr/>
          <p:nvPr/>
        </p:nvGrpSpPr>
        <p:grpSpPr>
          <a:xfrm>
            <a:off x="9864073" y="3212684"/>
            <a:ext cx="1384300" cy="548177"/>
            <a:chOff x="929805" y="4201624"/>
            <a:chExt cx="1384300" cy="548177"/>
          </a:xfrm>
        </p:grpSpPr>
        <p:sp>
          <p:nvSpPr>
            <p:cNvPr id="3" name="Freeform 11">
              <a:extLst>
                <a:ext uri="{FF2B5EF4-FFF2-40B4-BE49-F238E27FC236}">
                  <a16:creationId xmlns:a16="http://schemas.microsoft.com/office/drawing/2014/main" id="{EEA3CFA2-5CA4-7244-560D-941F03052C90}"/>
                </a:ext>
              </a:extLst>
            </p:cNvPr>
            <p:cNvSpPr>
              <a:spLocks/>
            </p:cNvSpPr>
            <p:nvPr/>
          </p:nvSpPr>
          <p:spPr bwMode="auto">
            <a:xfrm>
              <a:off x="929805" y="4391026"/>
              <a:ext cx="1384300" cy="358775"/>
            </a:xfrm>
            <a:custGeom>
              <a:avLst/>
              <a:gdLst>
                <a:gd name="T0" fmla="*/ 872 w 872"/>
                <a:gd name="T1" fmla="*/ 0 h 226"/>
                <a:gd name="T2" fmla="*/ 872 w 872"/>
                <a:gd name="T3" fmla="*/ 126 h 226"/>
                <a:gd name="T4" fmla="*/ 655 w 872"/>
                <a:gd name="T5" fmla="*/ 226 h 226"/>
                <a:gd name="T6" fmla="*/ 0 w 872"/>
                <a:gd name="T7" fmla="*/ 226 h 226"/>
                <a:gd name="T8" fmla="*/ 0 w 872"/>
                <a:gd name="T9" fmla="*/ 87 h 226"/>
                <a:gd name="T10" fmla="*/ 872 w 872"/>
                <a:gd name="T1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226">
                  <a:moveTo>
                    <a:pt x="872" y="0"/>
                  </a:moveTo>
                  <a:lnTo>
                    <a:pt x="872" y="126"/>
                  </a:lnTo>
                  <a:lnTo>
                    <a:pt x="655" y="226"/>
                  </a:lnTo>
                  <a:lnTo>
                    <a:pt x="0" y="226"/>
                  </a:lnTo>
                  <a:lnTo>
                    <a:pt x="0" y="87"/>
                  </a:lnTo>
                  <a:lnTo>
                    <a:pt x="872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B0F7F4">
                    <a:alpha val="20000"/>
                  </a:srgbClr>
                </a:gs>
                <a:gs pos="0">
                  <a:srgbClr val="B0F7F4">
                    <a:alpha val="0"/>
                  </a:srgbClr>
                </a:gs>
              </a:gsLst>
              <a:lin ang="135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4" name="Group 4">
              <a:extLst>
                <a:ext uri="{FF2B5EF4-FFF2-40B4-BE49-F238E27FC236}">
                  <a16:creationId xmlns:a16="http://schemas.microsoft.com/office/drawing/2014/main" id="{1A011DF8-CF4F-362E-16D0-4412714FB92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29805" y="4201624"/>
              <a:ext cx="1384300" cy="333375"/>
              <a:chOff x="3404" y="2519"/>
              <a:chExt cx="872" cy="210"/>
            </a:xfrm>
          </p:grpSpPr>
          <p:sp>
            <p:nvSpPr>
              <p:cNvPr id="5" name="Freeform 5">
                <a:extLst>
                  <a:ext uri="{FF2B5EF4-FFF2-40B4-BE49-F238E27FC236}">
                    <a16:creationId xmlns:a16="http://schemas.microsoft.com/office/drawing/2014/main" id="{2D30DFCD-0B20-AE0C-81BD-D8AD8AD33B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4" y="2519"/>
                <a:ext cx="655" cy="210"/>
              </a:xfrm>
              <a:custGeom>
                <a:avLst/>
                <a:gdLst>
                  <a:gd name="T0" fmla="*/ 107 w 655"/>
                  <a:gd name="T1" fmla="*/ 0 h 210"/>
                  <a:gd name="T2" fmla="*/ 107 w 655"/>
                  <a:gd name="T3" fmla="*/ 93 h 210"/>
                  <a:gd name="T4" fmla="*/ 0 w 655"/>
                  <a:gd name="T5" fmla="*/ 141 h 210"/>
                  <a:gd name="T6" fmla="*/ 0 w 655"/>
                  <a:gd name="T7" fmla="*/ 210 h 210"/>
                  <a:gd name="T8" fmla="*/ 655 w 655"/>
                  <a:gd name="T9" fmla="*/ 210 h 210"/>
                  <a:gd name="T10" fmla="*/ 655 w 655"/>
                  <a:gd name="T11" fmla="*/ 141 h 210"/>
                  <a:gd name="T12" fmla="*/ 107 w 655"/>
                  <a:gd name="T13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5" h="210">
                    <a:moveTo>
                      <a:pt x="107" y="0"/>
                    </a:moveTo>
                    <a:lnTo>
                      <a:pt x="107" y="93"/>
                    </a:lnTo>
                    <a:lnTo>
                      <a:pt x="0" y="141"/>
                    </a:lnTo>
                    <a:lnTo>
                      <a:pt x="0" y="210"/>
                    </a:lnTo>
                    <a:lnTo>
                      <a:pt x="655" y="210"/>
                    </a:lnTo>
                    <a:lnTo>
                      <a:pt x="655" y="141"/>
                    </a:lnTo>
                    <a:lnTo>
                      <a:pt x="107" y="0"/>
                    </a:lnTo>
                    <a:close/>
                  </a:path>
                </a:pathLst>
              </a:custGeom>
              <a:gradFill>
                <a:gsLst>
                  <a:gs pos="100000">
                    <a:srgbClr val="B0F7F4"/>
                  </a:gs>
                  <a:gs pos="0">
                    <a:schemeClr val="bg1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6" name="Freeform 6">
                <a:extLst>
                  <a:ext uri="{FF2B5EF4-FFF2-40B4-BE49-F238E27FC236}">
                    <a16:creationId xmlns:a16="http://schemas.microsoft.com/office/drawing/2014/main" id="{F226196B-E58E-3073-D2B6-BE6D4F8271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4" y="2519"/>
                <a:ext cx="872" cy="141"/>
              </a:xfrm>
              <a:custGeom>
                <a:avLst/>
                <a:gdLst>
                  <a:gd name="T0" fmla="*/ 107 w 872"/>
                  <a:gd name="T1" fmla="*/ 0 h 141"/>
                  <a:gd name="T2" fmla="*/ 724 w 872"/>
                  <a:gd name="T3" fmla="*/ 0 h 141"/>
                  <a:gd name="T4" fmla="*/ 872 w 872"/>
                  <a:gd name="T5" fmla="*/ 51 h 141"/>
                  <a:gd name="T6" fmla="*/ 655 w 872"/>
                  <a:gd name="T7" fmla="*/ 141 h 141"/>
                  <a:gd name="T8" fmla="*/ 0 w 872"/>
                  <a:gd name="T9" fmla="*/ 141 h 141"/>
                  <a:gd name="T10" fmla="*/ 164 w 872"/>
                  <a:gd name="T11" fmla="*/ 51 h 141"/>
                  <a:gd name="T12" fmla="*/ 107 w 872"/>
                  <a:gd name="T13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2" h="141">
                    <a:moveTo>
                      <a:pt x="107" y="0"/>
                    </a:moveTo>
                    <a:lnTo>
                      <a:pt x="724" y="0"/>
                    </a:lnTo>
                    <a:lnTo>
                      <a:pt x="872" y="51"/>
                    </a:lnTo>
                    <a:lnTo>
                      <a:pt x="655" y="141"/>
                    </a:lnTo>
                    <a:lnTo>
                      <a:pt x="0" y="141"/>
                    </a:lnTo>
                    <a:lnTo>
                      <a:pt x="164" y="51"/>
                    </a:lnTo>
                    <a:lnTo>
                      <a:pt x="107" y="0"/>
                    </a:lnTo>
                    <a:close/>
                  </a:path>
                </a:pathLst>
              </a:custGeom>
              <a:gradFill>
                <a:gsLst>
                  <a:gs pos="100000">
                    <a:srgbClr val="125680"/>
                  </a:gs>
                  <a:gs pos="0">
                    <a:srgbClr val="12395E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7" name="Freeform 7">
                <a:extLst>
                  <a:ext uri="{FF2B5EF4-FFF2-40B4-BE49-F238E27FC236}">
                    <a16:creationId xmlns:a16="http://schemas.microsoft.com/office/drawing/2014/main" id="{362AEEDF-BC15-815F-C8DD-B256402FA1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9" y="2570"/>
                <a:ext cx="217" cy="159"/>
              </a:xfrm>
              <a:custGeom>
                <a:avLst/>
                <a:gdLst>
                  <a:gd name="T0" fmla="*/ 217 w 217"/>
                  <a:gd name="T1" fmla="*/ 0 h 159"/>
                  <a:gd name="T2" fmla="*/ 217 w 217"/>
                  <a:gd name="T3" fmla="*/ 71 h 159"/>
                  <a:gd name="T4" fmla="*/ 0 w 217"/>
                  <a:gd name="T5" fmla="*/ 159 h 159"/>
                  <a:gd name="T6" fmla="*/ 0 w 217"/>
                  <a:gd name="T7" fmla="*/ 90 h 159"/>
                  <a:gd name="T8" fmla="*/ 217 w 217"/>
                  <a:gd name="T9" fmla="*/ 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7" h="159">
                    <a:moveTo>
                      <a:pt x="217" y="0"/>
                    </a:moveTo>
                    <a:lnTo>
                      <a:pt x="217" y="71"/>
                    </a:lnTo>
                    <a:lnTo>
                      <a:pt x="0" y="159"/>
                    </a:lnTo>
                    <a:lnTo>
                      <a:pt x="0" y="90"/>
                    </a:lnTo>
                    <a:lnTo>
                      <a:pt x="217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B0F7F4"/>
                  </a:gs>
                  <a:gs pos="0">
                    <a:schemeClr val="bg1"/>
                  </a:gs>
                </a:gsLst>
                <a:lin ang="189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5B99DD27-D145-91C6-DDA8-1FAF6EAD033C}"/>
              </a:ext>
            </a:extLst>
          </p:cNvPr>
          <p:cNvGrpSpPr/>
          <p:nvPr/>
        </p:nvGrpSpPr>
        <p:grpSpPr>
          <a:xfrm>
            <a:off x="10345361" y="2442873"/>
            <a:ext cx="269422" cy="273392"/>
            <a:chOff x="896938" y="1943100"/>
            <a:chExt cx="249237" cy="287338"/>
          </a:xfrm>
          <a:solidFill>
            <a:schemeClr val="accent1">
              <a:lumMod val="75000"/>
            </a:schemeClr>
          </a:solidFill>
          <a:effectLst/>
        </p:grpSpPr>
        <p:sp>
          <p:nvSpPr>
            <p:cNvPr id="11" name="Freeform 1088">
              <a:extLst>
                <a:ext uri="{FF2B5EF4-FFF2-40B4-BE49-F238E27FC236}">
                  <a16:creationId xmlns:a16="http://schemas.microsoft.com/office/drawing/2014/main" id="{FB85FF78-0A40-AFDB-BC58-A8F5D95112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5200" y="1943100"/>
              <a:ext cx="180975" cy="249238"/>
            </a:xfrm>
            <a:custGeom>
              <a:avLst/>
              <a:gdLst>
                <a:gd name="T0" fmla="*/ 301 w 457"/>
                <a:gd name="T1" fmla="*/ 156 h 626"/>
                <a:gd name="T2" fmla="*/ 301 w 457"/>
                <a:gd name="T3" fmla="*/ 12 h 626"/>
                <a:gd name="T4" fmla="*/ 446 w 457"/>
                <a:gd name="T5" fmla="*/ 156 h 626"/>
                <a:gd name="T6" fmla="*/ 301 w 457"/>
                <a:gd name="T7" fmla="*/ 156 h 626"/>
                <a:gd name="T8" fmla="*/ 454 w 457"/>
                <a:gd name="T9" fmla="*/ 148 h 626"/>
                <a:gd name="T10" fmla="*/ 309 w 457"/>
                <a:gd name="T11" fmla="*/ 3 h 626"/>
                <a:gd name="T12" fmla="*/ 305 w 457"/>
                <a:gd name="T13" fmla="*/ 1 h 626"/>
                <a:gd name="T14" fmla="*/ 301 w 457"/>
                <a:gd name="T15" fmla="*/ 0 h 626"/>
                <a:gd name="T16" fmla="*/ 12 w 457"/>
                <a:gd name="T17" fmla="*/ 0 h 626"/>
                <a:gd name="T18" fmla="*/ 7 w 457"/>
                <a:gd name="T19" fmla="*/ 1 h 626"/>
                <a:gd name="T20" fmla="*/ 3 w 457"/>
                <a:gd name="T21" fmla="*/ 4 h 626"/>
                <a:gd name="T22" fmla="*/ 1 w 457"/>
                <a:gd name="T23" fmla="*/ 7 h 626"/>
                <a:gd name="T24" fmla="*/ 0 w 457"/>
                <a:gd name="T25" fmla="*/ 12 h 626"/>
                <a:gd name="T26" fmla="*/ 0 w 457"/>
                <a:gd name="T27" fmla="*/ 72 h 626"/>
                <a:gd name="T28" fmla="*/ 118 w 457"/>
                <a:gd name="T29" fmla="*/ 72 h 626"/>
                <a:gd name="T30" fmla="*/ 122 w 457"/>
                <a:gd name="T31" fmla="*/ 74 h 626"/>
                <a:gd name="T32" fmla="*/ 127 w 457"/>
                <a:gd name="T33" fmla="*/ 76 h 626"/>
                <a:gd name="T34" fmla="*/ 286 w 457"/>
                <a:gd name="T35" fmla="*/ 235 h 626"/>
                <a:gd name="T36" fmla="*/ 288 w 457"/>
                <a:gd name="T37" fmla="*/ 239 h 626"/>
                <a:gd name="T38" fmla="*/ 289 w 457"/>
                <a:gd name="T39" fmla="*/ 244 h 626"/>
                <a:gd name="T40" fmla="*/ 289 w 457"/>
                <a:gd name="T41" fmla="*/ 626 h 626"/>
                <a:gd name="T42" fmla="*/ 446 w 457"/>
                <a:gd name="T43" fmla="*/ 626 h 626"/>
                <a:gd name="T44" fmla="*/ 450 w 457"/>
                <a:gd name="T45" fmla="*/ 625 h 626"/>
                <a:gd name="T46" fmla="*/ 454 w 457"/>
                <a:gd name="T47" fmla="*/ 623 h 626"/>
                <a:gd name="T48" fmla="*/ 457 w 457"/>
                <a:gd name="T49" fmla="*/ 619 h 626"/>
                <a:gd name="T50" fmla="*/ 457 w 457"/>
                <a:gd name="T51" fmla="*/ 614 h 626"/>
                <a:gd name="T52" fmla="*/ 457 w 457"/>
                <a:gd name="T53" fmla="*/ 156 h 626"/>
                <a:gd name="T54" fmla="*/ 457 w 457"/>
                <a:gd name="T55" fmla="*/ 152 h 626"/>
                <a:gd name="T56" fmla="*/ 454 w 457"/>
                <a:gd name="T57" fmla="*/ 148 h 6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57" h="626">
                  <a:moveTo>
                    <a:pt x="301" y="156"/>
                  </a:moveTo>
                  <a:lnTo>
                    <a:pt x="301" y="12"/>
                  </a:lnTo>
                  <a:lnTo>
                    <a:pt x="446" y="156"/>
                  </a:lnTo>
                  <a:lnTo>
                    <a:pt x="301" y="156"/>
                  </a:lnTo>
                  <a:close/>
                  <a:moveTo>
                    <a:pt x="454" y="148"/>
                  </a:moveTo>
                  <a:lnTo>
                    <a:pt x="309" y="3"/>
                  </a:lnTo>
                  <a:lnTo>
                    <a:pt x="305" y="1"/>
                  </a:lnTo>
                  <a:lnTo>
                    <a:pt x="301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4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72"/>
                  </a:lnTo>
                  <a:lnTo>
                    <a:pt x="118" y="72"/>
                  </a:lnTo>
                  <a:lnTo>
                    <a:pt x="122" y="74"/>
                  </a:lnTo>
                  <a:lnTo>
                    <a:pt x="127" y="76"/>
                  </a:lnTo>
                  <a:lnTo>
                    <a:pt x="286" y="235"/>
                  </a:lnTo>
                  <a:lnTo>
                    <a:pt x="288" y="239"/>
                  </a:lnTo>
                  <a:lnTo>
                    <a:pt x="289" y="244"/>
                  </a:lnTo>
                  <a:lnTo>
                    <a:pt x="289" y="626"/>
                  </a:lnTo>
                  <a:lnTo>
                    <a:pt x="446" y="626"/>
                  </a:lnTo>
                  <a:lnTo>
                    <a:pt x="450" y="625"/>
                  </a:lnTo>
                  <a:lnTo>
                    <a:pt x="454" y="623"/>
                  </a:lnTo>
                  <a:lnTo>
                    <a:pt x="457" y="619"/>
                  </a:lnTo>
                  <a:lnTo>
                    <a:pt x="457" y="614"/>
                  </a:lnTo>
                  <a:lnTo>
                    <a:pt x="457" y="156"/>
                  </a:lnTo>
                  <a:lnTo>
                    <a:pt x="457" y="152"/>
                  </a:lnTo>
                  <a:lnTo>
                    <a:pt x="454" y="1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" name="Freeform 1089">
              <a:extLst>
                <a:ext uri="{FF2B5EF4-FFF2-40B4-BE49-F238E27FC236}">
                  <a16:creationId xmlns:a16="http://schemas.microsoft.com/office/drawing/2014/main" id="{8E2EF5E1-3D4C-9F31-61CF-EAB51740DA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6938" y="1981200"/>
              <a:ext cx="173038" cy="249238"/>
            </a:xfrm>
            <a:custGeom>
              <a:avLst/>
              <a:gdLst>
                <a:gd name="T0" fmla="*/ 277 w 434"/>
                <a:gd name="T1" fmla="*/ 157 h 627"/>
                <a:gd name="T2" fmla="*/ 277 w 434"/>
                <a:gd name="T3" fmla="*/ 12 h 627"/>
                <a:gd name="T4" fmla="*/ 422 w 434"/>
                <a:gd name="T5" fmla="*/ 157 h 627"/>
                <a:gd name="T6" fmla="*/ 277 w 434"/>
                <a:gd name="T7" fmla="*/ 157 h 627"/>
                <a:gd name="T8" fmla="*/ 277 w 434"/>
                <a:gd name="T9" fmla="*/ 0 h 627"/>
                <a:gd name="T10" fmla="*/ 12 w 434"/>
                <a:gd name="T11" fmla="*/ 0 h 627"/>
                <a:gd name="T12" fmla="*/ 8 w 434"/>
                <a:gd name="T13" fmla="*/ 1 h 627"/>
                <a:gd name="T14" fmla="*/ 4 w 434"/>
                <a:gd name="T15" fmla="*/ 4 h 627"/>
                <a:gd name="T16" fmla="*/ 1 w 434"/>
                <a:gd name="T17" fmla="*/ 8 h 627"/>
                <a:gd name="T18" fmla="*/ 0 w 434"/>
                <a:gd name="T19" fmla="*/ 12 h 627"/>
                <a:gd name="T20" fmla="*/ 0 w 434"/>
                <a:gd name="T21" fmla="*/ 615 h 627"/>
                <a:gd name="T22" fmla="*/ 1 w 434"/>
                <a:gd name="T23" fmla="*/ 620 h 627"/>
                <a:gd name="T24" fmla="*/ 4 w 434"/>
                <a:gd name="T25" fmla="*/ 623 h 627"/>
                <a:gd name="T26" fmla="*/ 8 w 434"/>
                <a:gd name="T27" fmla="*/ 626 h 627"/>
                <a:gd name="T28" fmla="*/ 12 w 434"/>
                <a:gd name="T29" fmla="*/ 627 h 627"/>
                <a:gd name="T30" fmla="*/ 422 w 434"/>
                <a:gd name="T31" fmla="*/ 627 h 627"/>
                <a:gd name="T32" fmla="*/ 426 w 434"/>
                <a:gd name="T33" fmla="*/ 626 h 627"/>
                <a:gd name="T34" fmla="*/ 430 w 434"/>
                <a:gd name="T35" fmla="*/ 623 h 627"/>
                <a:gd name="T36" fmla="*/ 433 w 434"/>
                <a:gd name="T37" fmla="*/ 620 h 627"/>
                <a:gd name="T38" fmla="*/ 434 w 434"/>
                <a:gd name="T39" fmla="*/ 615 h 627"/>
                <a:gd name="T40" fmla="*/ 434 w 434"/>
                <a:gd name="T41" fmla="*/ 157 h 627"/>
                <a:gd name="T42" fmla="*/ 434 w 434"/>
                <a:gd name="T43" fmla="*/ 152 h 627"/>
                <a:gd name="T44" fmla="*/ 282 w 434"/>
                <a:gd name="T45" fmla="*/ 0 h 627"/>
                <a:gd name="T46" fmla="*/ 277 w 434"/>
                <a:gd name="T47" fmla="*/ 0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34" h="627">
                  <a:moveTo>
                    <a:pt x="277" y="157"/>
                  </a:moveTo>
                  <a:lnTo>
                    <a:pt x="277" y="12"/>
                  </a:lnTo>
                  <a:lnTo>
                    <a:pt x="422" y="157"/>
                  </a:lnTo>
                  <a:lnTo>
                    <a:pt x="277" y="157"/>
                  </a:lnTo>
                  <a:close/>
                  <a:moveTo>
                    <a:pt x="277" y="0"/>
                  </a:moveTo>
                  <a:lnTo>
                    <a:pt x="12" y="0"/>
                  </a:lnTo>
                  <a:lnTo>
                    <a:pt x="8" y="1"/>
                  </a:lnTo>
                  <a:lnTo>
                    <a:pt x="4" y="4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615"/>
                  </a:lnTo>
                  <a:lnTo>
                    <a:pt x="1" y="620"/>
                  </a:lnTo>
                  <a:lnTo>
                    <a:pt x="4" y="623"/>
                  </a:lnTo>
                  <a:lnTo>
                    <a:pt x="8" y="626"/>
                  </a:lnTo>
                  <a:lnTo>
                    <a:pt x="12" y="627"/>
                  </a:lnTo>
                  <a:lnTo>
                    <a:pt x="422" y="627"/>
                  </a:lnTo>
                  <a:lnTo>
                    <a:pt x="426" y="626"/>
                  </a:lnTo>
                  <a:lnTo>
                    <a:pt x="430" y="623"/>
                  </a:lnTo>
                  <a:lnTo>
                    <a:pt x="433" y="620"/>
                  </a:lnTo>
                  <a:lnTo>
                    <a:pt x="434" y="615"/>
                  </a:lnTo>
                  <a:lnTo>
                    <a:pt x="434" y="157"/>
                  </a:lnTo>
                  <a:lnTo>
                    <a:pt x="434" y="152"/>
                  </a:lnTo>
                  <a:lnTo>
                    <a:pt x="282" y="0"/>
                  </a:lnTo>
                  <a:lnTo>
                    <a:pt x="27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950828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E5FBACCA-44D2-4B34-91D5-58F9E56D4DCC}"/>
              </a:ext>
            </a:extLst>
          </p:cNvPr>
          <p:cNvSpPr/>
          <p:nvPr/>
        </p:nvSpPr>
        <p:spPr>
          <a:xfrm>
            <a:off x="0" y="5879913"/>
            <a:ext cx="12192000" cy="9848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885104" y="1"/>
            <a:ext cx="2306896" cy="1500603"/>
          </a:xfrm>
          <a:prstGeom prst="rect">
            <a:avLst/>
          </a:prstGeom>
        </p:spPr>
      </p:pic>
      <p:sp>
        <p:nvSpPr>
          <p:cNvPr id="7" name="Rectángulo 3">
            <a:extLst>
              <a:ext uri="{FF2B5EF4-FFF2-40B4-BE49-F238E27FC236}">
                <a16:creationId xmlns:a16="http://schemas.microsoft.com/office/drawing/2014/main" id="{33CCE3E9-AA96-47FE-8409-0E97181EC367}"/>
              </a:ext>
            </a:extLst>
          </p:cNvPr>
          <p:cNvSpPr/>
          <p:nvPr/>
        </p:nvSpPr>
        <p:spPr>
          <a:xfrm>
            <a:off x="414596" y="648202"/>
            <a:ext cx="11362808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e’ll take your presentation to new heights.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average PowerPoints to an impactful set of slides to wow your audience</a:t>
            </a: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8640" y="408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Rectángulo 3">
            <a:extLst>
              <a:ext uri="{FF2B5EF4-FFF2-40B4-BE49-F238E27FC236}">
                <a16:creationId xmlns:a16="http://schemas.microsoft.com/office/drawing/2014/main" id="{3B8DB81C-BE0D-47E7-A849-F8ECD5B8693F}"/>
              </a:ext>
            </a:extLst>
          </p:cNvPr>
          <p:cNvSpPr/>
          <p:nvPr/>
        </p:nvSpPr>
        <p:spPr>
          <a:xfrm>
            <a:off x="414596" y="1692426"/>
            <a:ext cx="113628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E FOR YOURSELF!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ABF7771B-460D-43AF-8B6D-AB4FC823A8F1}"/>
              </a:ext>
            </a:extLst>
          </p:cNvPr>
          <p:cNvGrpSpPr/>
          <p:nvPr/>
        </p:nvGrpSpPr>
        <p:grpSpPr>
          <a:xfrm>
            <a:off x="904956" y="2489200"/>
            <a:ext cx="4693260" cy="3937000"/>
            <a:chOff x="904956" y="2489200"/>
            <a:chExt cx="4693260" cy="3937000"/>
          </a:xfrm>
        </p:grpSpPr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7F205E5E-83C5-44D6-8EC6-140BE8B6B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4956" y="2489200"/>
              <a:ext cx="4693260" cy="3937000"/>
            </a:xfrm>
            <a:prstGeom prst="rect">
              <a:avLst/>
            </a:prstGeom>
          </p:spPr>
        </p:pic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D9C4CE78-ABC9-4F06-87FB-F12378099317}"/>
                </a:ext>
              </a:extLst>
            </p:cNvPr>
            <p:cNvSpPr/>
            <p:nvPr/>
          </p:nvSpPr>
          <p:spPr>
            <a:xfrm>
              <a:off x="2032386" y="5441315"/>
              <a:ext cx="2438400" cy="584200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BEFORE</a:t>
              </a:r>
              <a:endParaRPr kumimoji="0" lang="en-ID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DD5A71F8-69B1-4888-AC14-982946131003}"/>
              </a:ext>
            </a:extLst>
          </p:cNvPr>
          <p:cNvGrpSpPr/>
          <p:nvPr/>
        </p:nvGrpSpPr>
        <p:grpSpPr>
          <a:xfrm>
            <a:off x="6593786" y="2489200"/>
            <a:ext cx="4693260" cy="3937000"/>
            <a:chOff x="6593786" y="2489200"/>
            <a:chExt cx="4693260" cy="3937000"/>
          </a:xfrm>
        </p:grpSpPr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E255DE7B-C434-4B66-A67E-2421BF343F1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93786" y="2489200"/>
              <a:ext cx="4693260" cy="3937000"/>
            </a:xfrm>
            <a:prstGeom prst="rect">
              <a:avLst/>
            </a:prstGeom>
          </p:spPr>
        </p:pic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546E99A8-FE8C-41C7-BEFD-C1822DC53960}"/>
                </a:ext>
              </a:extLst>
            </p:cNvPr>
            <p:cNvSpPr/>
            <p:nvPr/>
          </p:nvSpPr>
          <p:spPr>
            <a:xfrm>
              <a:off x="7721216" y="5441315"/>
              <a:ext cx="2438400" cy="584200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FTER</a:t>
              </a:r>
              <a:endParaRPr kumimoji="0" lang="en-ID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</p:grpSp>
      <p:pic>
        <p:nvPicPr>
          <p:cNvPr id="8" name="Imagen 7" descr="Captura de pantalla de un celular&#10;&#10;Descripción generada automáticamente">
            <a:extLst>
              <a:ext uri="{FF2B5EF4-FFF2-40B4-BE49-F238E27FC236}">
                <a16:creationId xmlns:a16="http://schemas.microsoft.com/office/drawing/2014/main" id="{55F59B3E-0E87-478E-B88F-B93442CEEBEC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01" r="6065"/>
          <a:stretch/>
        </p:blipFill>
        <p:spPr>
          <a:xfrm>
            <a:off x="1385854" y="2715799"/>
            <a:ext cx="3731464" cy="2408894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DDCBF05E-4994-490D-9B85-A020E30B63A5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72" r="2008" b="3606"/>
          <a:stretch/>
        </p:blipFill>
        <p:spPr>
          <a:xfrm>
            <a:off x="6804088" y="2773372"/>
            <a:ext cx="4318614" cy="2281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3768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E5FBACCA-44D2-4B34-91D5-58F9E56D4DCC}"/>
              </a:ext>
            </a:extLst>
          </p:cNvPr>
          <p:cNvSpPr/>
          <p:nvPr/>
        </p:nvSpPr>
        <p:spPr>
          <a:xfrm>
            <a:off x="0" y="5879913"/>
            <a:ext cx="12192000" cy="9848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B04A82B-2E0A-4012-BACD-DFB9939FAC17}"/>
              </a:ext>
            </a:extLst>
          </p:cNvPr>
          <p:cNvGrpSpPr/>
          <p:nvPr/>
        </p:nvGrpSpPr>
        <p:grpSpPr>
          <a:xfrm>
            <a:off x="904956" y="2489200"/>
            <a:ext cx="4693260" cy="3937000"/>
            <a:chOff x="904956" y="2489200"/>
            <a:chExt cx="4693260" cy="3937000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ABF7771B-460D-43AF-8B6D-AB4FC823A8F1}"/>
                </a:ext>
              </a:extLst>
            </p:cNvPr>
            <p:cNvGrpSpPr/>
            <p:nvPr/>
          </p:nvGrpSpPr>
          <p:grpSpPr>
            <a:xfrm>
              <a:off x="904956" y="2489200"/>
              <a:ext cx="4693260" cy="3937000"/>
              <a:chOff x="904956" y="2489200"/>
              <a:chExt cx="4693260" cy="3937000"/>
            </a:xfrm>
          </p:grpSpPr>
          <p:pic>
            <p:nvPicPr>
              <p:cNvPr id="46" name="Picture 45">
                <a:extLst>
                  <a:ext uri="{FF2B5EF4-FFF2-40B4-BE49-F238E27FC236}">
                    <a16:creationId xmlns:a16="http://schemas.microsoft.com/office/drawing/2014/main" id="{7F205E5E-83C5-44D6-8EC6-140BE8B6B4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04956" y="2489200"/>
                <a:ext cx="4693260" cy="3937000"/>
              </a:xfrm>
              <a:prstGeom prst="rect">
                <a:avLst/>
              </a:prstGeom>
            </p:spPr>
          </p:pic>
          <p:sp>
            <p:nvSpPr>
              <p:cNvPr id="47" name="Rectangle: Rounded Corners 46">
                <a:extLst>
                  <a:ext uri="{FF2B5EF4-FFF2-40B4-BE49-F238E27FC236}">
                    <a16:creationId xmlns:a16="http://schemas.microsoft.com/office/drawing/2014/main" id="{D9C4CE78-ABC9-4F06-87FB-F12378099317}"/>
                  </a:ext>
                </a:extLst>
              </p:cNvPr>
              <p:cNvSpPr/>
              <p:nvPr/>
            </p:nvSpPr>
            <p:spPr>
              <a:xfrm>
                <a:off x="2032386" y="5441315"/>
                <a:ext cx="2438400" cy="584200"/>
              </a:xfrm>
              <a:prstGeom prst="roundRect">
                <a:avLst>
                  <a:gd name="adj" fmla="val 50000"/>
                </a:avLst>
              </a:prstGeom>
              <a:solidFill>
                <a:schemeClr val="tx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BEFORE</a:t>
                </a:r>
                <a:endParaRPr kumimoji="0" lang="en-ID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</p:grpSp>
        <p:pic>
          <p:nvPicPr>
            <p:cNvPr id="45" name="Shape 131">
              <a:extLst>
                <a:ext uri="{FF2B5EF4-FFF2-40B4-BE49-F238E27FC236}">
                  <a16:creationId xmlns:a16="http://schemas.microsoft.com/office/drawing/2014/main" id="{45A83AE6-49D6-4B21-8EB1-2B89C8AAE71B}"/>
                </a:ext>
              </a:extLst>
            </p:cNvPr>
            <p:cNvPicPr preferRelativeResize="0">
              <a:picLocks noChangeAspect="1"/>
            </p:cNvPicPr>
            <p:nvPr/>
          </p:nvPicPr>
          <p:blipFill rotWithShape="1">
            <a:blip r:embed="rId6">
              <a:alphaModFix/>
            </a:blip>
            <a:srcRect t="18724" b="13617"/>
            <a:stretch/>
          </p:blipFill>
          <p:spPr>
            <a:xfrm>
              <a:off x="1379505" y="2735813"/>
              <a:ext cx="3744161" cy="2329200"/>
            </a:xfrm>
            <a:prstGeom prst="rect">
              <a:avLst/>
            </a:prstGeom>
            <a:noFill/>
            <a:ln>
              <a:noFill/>
            </a:ln>
            <a:effectLst>
              <a:outerShdw blurRad="381000" dist="190500" dir="5400000" algn="tl" rotWithShape="0">
                <a:prstClr val="black">
                  <a:alpha val="13000"/>
                </a:prstClr>
              </a:outerShdw>
            </a:effectLst>
          </p:spPr>
        </p:pic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6ED35A69-CC49-44EA-A600-1304862D2936}"/>
              </a:ext>
            </a:extLst>
          </p:cNvPr>
          <p:cNvGrpSpPr/>
          <p:nvPr/>
        </p:nvGrpSpPr>
        <p:grpSpPr>
          <a:xfrm>
            <a:off x="6593786" y="2489200"/>
            <a:ext cx="4693260" cy="3937000"/>
            <a:chOff x="6593786" y="2489200"/>
            <a:chExt cx="4693260" cy="3937000"/>
          </a:xfrm>
        </p:grpSpPr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DD5A71F8-69B1-4888-AC14-982946131003}"/>
                </a:ext>
              </a:extLst>
            </p:cNvPr>
            <p:cNvGrpSpPr/>
            <p:nvPr/>
          </p:nvGrpSpPr>
          <p:grpSpPr>
            <a:xfrm>
              <a:off x="6593786" y="2489200"/>
              <a:ext cx="4693260" cy="3937000"/>
              <a:chOff x="6593786" y="2489200"/>
              <a:chExt cx="4693260" cy="3937000"/>
            </a:xfrm>
          </p:grpSpPr>
          <p:pic>
            <p:nvPicPr>
              <p:cNvPr id="51" name="Picture 50">
                <a:extLst>
                  <a:ext uri="{FF2B5EF4-FFF2-40B4-BE49-F238E27FC236}">
                    <a16:creationId xmlns:a16="http://schemas.microsoft.com/office/drawing/2014/main" id="{E255DE7B-C434-4B66-A67E-2421BF343F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93786" y="2489200"/>
                <a:ext cx="4693260" cy="3937000"/>
              </a:xfrm>
              <a:prstGeom prst="rect">
                <a:avLst/>
              </a:prstGeom>
            </p:spPr>
          </p:pic>
          <p:sp>
            <p:nvSpPr>
              <p:cNvPr id="52" name="Rectangle: Rounded Corners 51">
                <a:extLst>
                  <a:ext uri="{FF2B5EF4-FFF2-40B4-BE49-F238E27FC236}">
                    <a16:creationId xmlns:a16="http://schemas.microsoft.com/office/drawing/2014/main" id="{546E99A8-FE8C-41C7-BEFD-C1822DC53960}"/>
                  </a:ext>
                </a:extLst>
              </p:cNvPr>
              <p:cNvSpPr/>
              <p:nvPr/>
            </p:nvSpPr>
            <p:spPr>
              <a:xfrm>
                <a:off x="7721216" y="5441315"/>
                <a:ext cx="2438400" cy="584200"/>
              </a:xfrm>
              <a:prstGeom prst="roundRect">
                <a:avLst>
                  <a:gd name="adj" fmla="val 50000"/>
                </a:avLst>
              </a:prstGeom>
              <a:solidFill>
                <a:schemeClr val="tx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AFTER</a:t>
                </a:r>
                <a:endParaRPr kumimoji="0" lang="en-ID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</p:grpSp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7F6BB373-A454-4ABC-BF17-95475BF48A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034" t="7987" r="14450" b="21513"/>
            <a:stretch/>
          </p:blipFill>
          <p:spPr>
            <a:xfrm>
              <a:off x="7006126" y="2751014"/>
              <a:ext cx="3956269" cy="2329200"/>
            </a:xfrm>
            <a:prstGeom prst="rect">
              <a:avLst/>
            </a:prstGeom>
          </p:spPr>
        </p:pic>
      </p:grpSp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885104" y="1"/>
            <a:ext cx="2306896" cy="1500603"/>
          </a:xfrm>
          <a:prstGeom prst="rect">
            <a:avLst/>
          </a:prstGeom>
        </p:spPr>
      </p:pic>
      <p:sp>
        <p:nvSpPr>
          <p:cNvPr id="7" name="Rectángulo 3">
            <a:extLst>
              <a:ext uri="{FF2B5EF4-FFF2-40B4-BE49-F238E27FC236}">
                <a16:creationId xmlns:a16="http://schemas.microsoft.com/office/drawing/2014/main" id="{33CCE3E9-AA96-47FE-8409-0E97181EC367}"/>
              </a:ext>
            </a:extLst>
          </p:cNvPr>
          <p:cNvSpPr/>
          <p:nvPr/>
        </p:nvSpPr>
        <p:spPr>
          <a:xfrm>
            <a:off x="414596" y="648202"/>
            <a:ext cx="11362808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e’ll take your presentation to new heights.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a sketch to a fully editable PowerPoint slide to share your big ideas</a:t>
            </a: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8640" y="408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Rectángulo 3">
            <a:extLst>
              <a:ext uri="{FF2B5EF4-FFF2-40B4-BE49-F238E27FC236}">
                <a16:creationId xmlns:a16="http://schemas.microsoft.com/office/drawing/2014/main" id="{3B8DB81C-BE0D-47E7-A849-F8ECD5B8693F}"/>
              </a:ext>
            </a:extLst>
          </p:cNvPr>
          <p:cNvSpPr/>
          <p:nvPr/>
        </p:nvSpPr>
        <p:spPr>
          <a:xfrm>
            <a:off x="414596" y="1692426"/>
            <a:ext cx="113628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E FOR YOURSELF!</a:t>
            </a:r>
          </a:p>
        </p:txBody>
      </p:sp>
    </p:spTree>
    <p:extLst>
      <p:ext uri="{BB962C8B-B14F-4D97-AF65-F5344CB8AC3E}">
        <p14:creationId xmlns:p14="http://schemas.microsoft.com/office/powerpoint/2010/main" val="3043722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2">
            <a:extLst>
              <a:ext uri="{FF2B5EF4-FFF2-40B4-BE49-F238E27FC236}">
                <a16:creationId xmlns:a16="http://schemas.microsoft.com/office/drawing/2014/main" id="{18F38126-25AF-464E-AB13-FE4602C248F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-10650"/>
            <a:ext cx="8921915" cy="6868650"/>
          </a:xfrm>
          <a:prstGeom prst="rect">
            <a:avLst/>
          </a:prstGeom>
        </p:spPr>
      </p:pic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35453" y="4087"/>
            <a:ext cx="5021694" cy="2510847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E7A5DD22-4E32-4F8F-A847-7FE291BD1358}"/>
              </a:ext>
            </a:extLst>
          </p:cNvPr>
          <p:cNvSpPr/>
          <p:nvPr/>
        </p:nvSpPr>
        <p:spPr>
          <a:xfrm rot="5400000">
            <a:off x="9797062" y="5345299"/>
            <a:ext cx="3193249" cy="1596625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7" name="Rectángulo 3">
            <a:extLst>
              <a:ext uri="{FF2B5EF4-FFF2-40B4-BE49-F238E27FC236}">
                <a16:creationId xmlns:a16="http://schemas.microsoft.com/office/drawing/2014/main" id="{4DD79301-C8BD-4232-9663-26AC53A142F1}"/>
              </a:ext>
            </a:extLst>
          </p:cNvPr>
          <p:cNvSpPr/>
          <p:nvPr/>
        </p:nvSpPr>
        <p:spPr>
          <a:xfrm>
            <a:off x="5236977" y="3029118"/>
            <a:ext cx="442059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entuk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NVM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5ED6ADF-4AD7-89B9-D4DC-5E4FDDBC022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409" t="34997" r="58864" b="9225"/>
          <a:stretch/>
        </p:blipFill>
        <p:spPr>
          <a:xfrm>
            <a:off x="64438" y="2446221"/>
            <a:ext cx="4599709" cy="3825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76291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sOZgbh2gwZa1Nz_5BF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77</TotalTime>
  <Words>572</Words>
  <Application>Microsoft Office PowerPoint</Application>
  <PresentationFormat>Widescreen</PresentationFormat>
  <Paragraphs>73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0" baseType="lpstr">
      <vt:lpstr>-apple-system</vt:lpstr>
      <vt:lpstr>Arial</vt:lpstr>
      <vt:lpstr>Calibri</vt:lpstr>
      <vt:lpstr>Calibri Light</vt:lpstr>
      <vt:lpstr>Segoe UI</vt:lpstr>
      <vt:lpstr>Segoe UI Black</vt:lpstr>
      <vt:lpstr>Segoe UI Semibold</vt:lpstr>
      <vt:lpstr>Office Theme</vt:lpstr>
      <vt:lpstr>Tema de Offic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uzy Lukman</dc:creator>
  <cp:lastModifiedBy>arya fajar</cp:lastModifiedBy>
  <cp:revision>48</cp:revision>
  <dcterms:created xsi:type="dcterms:W3CDTF">2017-03-29T09:23:02Z</dcterms:created>
  <dcterms:modified xsi:type="dcterms:W3CDTF">2022-11-04T16:54:12Z</dcterms:modified>
</cp:coreProperties>
</file>